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51" d="100"/>
          <a:sy n="51" d="100"/>
        </p:scale>
        <p:origin x="797" y="38"/>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4.145053625268291</c:v>
                </c:pt>
                <c:pt idx="1">
                  <c:v>22.709202650589233</c:v>
                </c:pt>
                <c:pt idx="2">
                  <c:v>23.979333189545812</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194742</c:v>
                </c:pt>
                <c:pt idx="1">
                  <c:v>4.3153430000000021</c:v>
                </c:pt>
                <c:pt idx="2">
                  <c:v>4.0324860000000022</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4.339795625268291</c:v>
                </c:pt>
                <c:pt idx="1">
                  <c:v>27.024545650589236</c:v>
                </c:pt>
                <c:pt idx="2">
                  <c:v>28.011819189545815</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6.473120173202375</c:v>
                </c:pt>
                <c:pt idx="1">
                  <c:v>91.134668468310508</c:v>
                </c:pt>
                <c:pt idx="2">
                  <c:v>93.08218974041747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1434424076894794</c:v>
                </c:pt>
                <c:pt idx="1">
                  <c:v>101.05421973260054</c:v>
                </c:pt>
                <c:pt idx="2">
                  <c:v>100.1779844633514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9.616562580891852</c:v>
                </c:pt>
                <c:pt idx="1">
                  <c:v>192.18888820091107</c:v>
                </c:pt>
                <c:pt idx="2">
                  <c:v>193.2601742037689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C$2:$C$10</c:f>
              <c:numCache>
                <c:formatCode>General</c:formatCode>
                <c:ptCount val="9"/>
                <c:pt idx="0">
                  <c:v>93.082189740417476</c:v>
                </c:pt>
                <c:pt idx="2">
                  <c:v>183.14727520083292</c:v>
                </c:pt>
                <c:pt idx="3">
                  <c:v>110.79140777066544</c:v>
                </c:pt>
                <c:pt idx="4">
                  <c:v>85.191398865221174</c:v>
                </c:pt>
                <c:pt idx="5">
                  <c:v>64.660021804789054</c:v>
                </c:pt>
                <c:pt idx="7">
                  <c:v>110.94752591037714</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D$2:$D$10</c:f>
              <c:numCache>
                <c:formatCode>General</c:formatCode>
                <c:ptCount val="9"/>
                <c:pt idx="0">
                  <c:v>100.17798446335148</c:v>
                </c:pt>
                <c:pt idx="2">
                  <c:v>279.02224805791894</c:v>
                </c:pt>
                <c:pt idx="3">
                  <c:v>117.42033303186679</c:v>
                </c:pt>
                <c:pt idx="4">
                  <c:v>74.304728454602639</c:v>
                </c:pt>
                <c:pt idx="5">
                  <c:v>147.69188906331763</c:v>
                </c:pt>
                <c:pt idx="7">
                  <c:v>154.60979965192649</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B$2:$B$10</c:f>
              <c:numCache>
                <c:formatCode>General</c:formatCode>
                <c:ptCount val="9"/>
                <c:pt idx="0">
                  <c:v>193.26017420376894</c:v>
                </c:pt>
                <c:pt idx="2">
                  <c:v>462.16952325875184</c:v>
                </c:pt>
                <c:pt idx="3">
                  <c:v>228.21174080253226</c:v>
                </c:pt>
                <c:pt idx="4">
                  <c:v>159.49612731982381</c:v>
                </c:pt>
                <c:pt idx="5">
                  <c:v>212.3519108681067</c:v>
                </c:pt>
                <c:pt idx="7">
                  <c:v>265.55732556230367</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5158197349775999</c:v>
                </c:pt>
                <c:pt idx="2">
                  <c:v>1.7349327152424816</c:v>
                </c:pt>
                <c:pt idx="3">
                  <c:v>1.737215711501644</c:v>
                </c:pt>
                <c:pt idx="4">
                  <c:v>1.7843893314258399</c:v>
                </c:pt>
                <c:pt idx="6">
                  <c:v>3.5886719482111817</c:v>
                </c:pt>
                <c:pt idx="7">
                  <c:v>3.5886719482111817</c:v>
                </c:pt>
                <c:pt idx="8">
                  <c:v>3.5949242106571742</c:v>
                </c:pt>
                <c:pt idx="9">
                  <c:v>3.657062276457920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4559717349776</c:v>
                </c:pt>
                <c:pt idx="5">
                  <c:v>1.7245413314258398</c:v>
                </c:pt>
                <c:pt idx="10">
                  <c:v>1.7613942764579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2191129802648816</c:v>
                </c:pt>
                <c:pt idx="2">
                  <c:v>2.2829962591623268E-3</c:v>
                </c:pt>
                <c:pt idx="3">
                  <c:v>4.7173619924195796E-2</c:v>
                </c:pt>
                <c:pt idx="7">
                  <c:v>6.2522624459924224E-3</c:v>
                </c:pt>
                <c:pt idx="8">
                  <c:v>7.8719065800746044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4.8118383214658209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5.9847999999999998E-2</c:v>
                </c:pt>
                <c:pt idx="5">
                  <c:v>1.9122490000000001</c:v>
                </c:pt>
                <c:pt idx="10">
                  <c:v>1.895667999999999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1.852401000000000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1.6581000000000179E-2</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5158197349775999</c:v>
                </c:pt>
                <c:pt idx="5">
                  <c:v>3.6367903314258401</c:v>
                </c:pt>
                <c:pt idx="10">
                  <c:v>3.657062276457919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Huishoudens laag inkomen (drempel)</c:v>
                </c:pt>
                <c:pt idx="2">
                  <c:v>Inwoners</c:v>
                </c:pt>
                <c:pt idx="3">
                  <c:v>Re-integratie klassiek</c:v>
                </c:pt>
                <c:pt idx="4">
                  <c:v>Eenpersoonshuishoudens</c:v>
                </c:pt>
                <c:pt idx="5">
                  <c:v>Klantenpotentieel regionaal</c:v>
                </c:pt>
                <c:pt idx="6">
                  <c:v>Loonkostensubsidie</c:v>
                </c:pt>
                <c:pt idx="7">
                  <c:v>Omgevingsadressendichtheid</c:v>
                </c:pt>
                <c:pt idx="10">
                  <c:v>Overig</c:v>
                </c:pt>
              </c:strCache>
            </c:strRef>
          </c:cat>
          <c:val>
            <c:numRef>
              <c:f>Sheet1!$B$2:$B$12</c:f>
              <c:numCache>
                <c:formatCode>General</c:formatCode>
                <c:ptCount val="11"/>
                <c:pt idx="0">
                  <c:v>0.70253113632000008</c:v>
                </c:pt>
                <c:pt idx="1">
                  <c:v>0.43103894745600008</c:v>
                </c:pt>
                <c:pt idx="2">
                  <c:v>0.23365969015999999</c:v>
                </c:pt>
                <c:pt idx="3">
                  <c:v>0.17029014292576</c:v>
                </c:pt>
                <c:pt idx="4">
                  <c:v>8.9285859000000009E-2</c:v>
                </c:pt>
                <c:pt idx="5">
                  <c:v>6.5558750400000004E-2</c:v>
                </c:pt>
                <c:pt idx="6">
                  <c:v>4.0952424760000002E-2</c:v>
                </c:pt>
                <c:pt idx="7">
                  <c:v>2.8077325436160001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Participatie</c:v>
                </c:pt>
                <c:pt idx="1">
                  <c:v>Armoedebestrijding kinderen</c:v>
                </c:pt>
                <c:pt idx="2">
                  <c:v>Schulden en armoede</c:v>
                </c:pt>
                <c:pt idx="3">
                  <c:v>Perspectief op werk 2020</c:v>
                </c:pt>
              </c:strCache>
            </c:strRef>
          </c:cat>
          <c:val>
            <c:numRef>
              <c:f>Sheet1!$B$2:$B$12</c:f>
              <c:numCache>
                <c:formatCode>General</c:formatCode>
                <c:ptCount val="11"/>
                <c:pt idx="0">
                  <c:v>1.822929</c:v>
                </c:pt>
                <c:pt idx="1">
                  <c:v>5.2142000000000001E-2</c:v>
                </c:pt>
                <c:pt idx="2">
                  <c:v>2.0597000000000001E-2</c:v>
                </c:pt>
                <c:pt idx="3">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38288945608680003</c:v>
                </c:pt>
                <c:pt idx="1">
                  <c:v>0.39390560552920006</c:v>
                </c:pt>
                <c:pt idx="2">
                  <c:v>0.4300665212230400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2.2162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38288945608680003</c:v>
                </c:pt>
                <c:pt idx="1">
                  <c:v>0.39390560552920006</c:v>
                </c:pt>
                <c:pt idx="2">
                  <c:v>0.4522295212230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110796580009456</c:v>
                </c:pt>
                <c:pt idx="1">
                  <c:v>20.816234504528882</c:v>
                </c:pt>
                <c:pt idx="2">
                  <c:v>22.72718497188817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1712202082122285</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0.110796580009456</c:v>
                </c:pt>
                <c:pt idx="1">
                  <c:v>20.816234504528882</c:v>
                </c:pt>
                <c:pt idx="2">
                  <c:v>23.89840518010040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C$2:$C$10</c:f>
              <c:numCache>
                <c:formatCode>General</c:formatCode>
                <c:ptCount val="9"/>
                <c:pt idx="0">
                  <c:v>22.727184971888178</c:v>
                </c:pt>
                <c:pt idx="2">
                  <c:v>25.997589191002135</c:v>
                </c:pt>
                <c:pt idx="3">
                  <c:v>26.372239148442127</c:v>
                </c:pt>
                <c:pt idx="4">
                  <c:v>22.337705203536729</c:v>
                </c:pt>
                <c:pt idx="5">
                  <c:v>20.999036815528346</c:v>
                </c:pt>
                <c:pt idx="7">
                  <c:v>23.926642589627335</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D$2:$D$10</c:f>
              <c:numCache>
                <c:formatCode>General</c:formatCode>
                <c:ptCount val="9"/>
                <c:pt idx="0">
                  <c:v>1.1712202082122285</c:v>
                </c:pt>
                <c:pt idx="2">
                  <c:v>1.162923426517994</c:v>
                </c:pt>
                <c:pt idx="3">
                  <c:v>1.1581103367558654</c:v>
                </c:pt>
                <c:pt idx="4">
                  <c:v>1.1527573914866849</c:v>
                </c:pt>
                <c:pt idx="5">
                  <c:v>1.1438513867085296</c:v>
                </c:pt>
                <c:pt idx="7">
                  <c:v>1.1544106353672685</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B$2:$B$10</c:f>
              <c:numCache>
                <c:formatCode>General</c:formatCode>
                <c:ptCount val="9"/>
                <c:pt idx="0">
                  <c:v>23.898405180100408</c:v>
                </c:pt>
                <c:pt idx="2">
                  <c:v>27.16051261752013</c:v>
                </c:pt>
                <c:pt idx="3">
                  <c:v>27.530349485197991</c:v>
                </c:pt>
                <c:pt idx="4">
                  <c:v>23.490462595023413</c:v>
                </c:pt>
                <c:pt idx="5">
                  <c:v>22.142888202236875</c:v>
                </c:pt>
                <c:pt idx="7">
                  <c:v>25.081053224994601</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31387488678007358</c:v>
                </c:pt>
                <c:pt idx="2">
                  <c:v>0.30835232706362409</c:v>
                </c:pt>
                <c:pt idx="3">
                  <c:v>0.30835232706362409</c:v>
                </c:pt>
                <c:pt idx="4">
                  <c:v>0.39390560552920006</c:v>
                </c:pt>
                <c:pt idx="6">
                  <c:v>0.39232357777318211</c:v>
                </c:pt>
                <c:pt idx="7">
                  <c:v>0.39232357777318211</c:v>
                </c:pt>
                <c:pt idx="8">
                  <c:v>0.41045382548107667</c:v>
                </c:pt>
                <c:pt idx="9">
                  <c:v>0.4300665212230400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38288945608680003</c:v>
                </c:pt>
                <c:pt idx="5">
                  <c:v>0.39390560552920006</c:v>
                </c:pt>
                <c:pt idx="10">
                  <c:v>0.4300665212230400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3">
                  <c:v>8.5553278465576005E-2</c:v>
                </c:pt>
                <c:pt idx="7">
                  <c:v>1.813024770789454E-2</c:v>
                </c:pt>
                <c:pt idx="8">
                  <c:v>1.9612695741963355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6.9014569306726475E-2</c:v>
                </c:pt>
                <c:pt idx="2">
                  <c:v>5.5225597164494881E-3</c:v>
                </c:pt>
                <c:pt idx="6">
                  <c:v>1.5820277560179479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2.2162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2.2162999999999999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38288945608680003</c:v>
                </c:pt>
                <c:pt idx="5">
                  <c:v>0.39390560552920006</c:v>
                </c:pt>
                <c:pt idx="10">
                  <c:v>0.4522295212230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Jongeren</c:v>
                </c:pt>
                <c:pt idx="2">
                  <c:v>Huishoudens met laag inkomen (drempel)</c:v>
                </c:pt>
                <c:pt idx="3">
                  <c:v>Eenouderhuishoudens</c:v>
                </c:pt>
                <c:pt idx="4">
                  <c:v>Huishoudens</c:v>
                </c:pt>
                <c:pt idx="5">
                  <c:v>Omgevingsadressendichtheid</c:v>
                </c:pt>
                <c:pt idx="6">
                  <c:v>Bijstandsontvangers</c:v>
                </c:pt>
                <c:pt idx="7">
                  <c:v>Uitkeringsontvangers</c:v>
                </c:pt>
                <c:pt idx="8">
                  <c:v>Ouderen</c:v>
                </c:pt>
                <c:pt idx="9">
                  <c:v>Minderheden</c:v>
                </c:pt>
                <c:pt idx="10">
                  <c:v>Overig</c:v>
                </c:pt>
              </c:strCache>
            </c:strRef>
          </c:cat>
          <c:val>
            <c:numRef>
              <c:f>Sheet1!$B$2:$B$12</c:f>
              <c:numCache>
                <c:formatCode>General</c:formatCode>
                <c:ptCount val="11"/>
                <c:pt idx="0">
                  <c:v>9.0596511720000009E-2</c:v>
                </c:pt>
                <c:pt idx="1">
                  <c:v>8.6294180439999993E-2</c:v>
                </c:pt>
                <c:pt idx="2">
                  <c:v>6.9724122935999999E-2</c:v>
                </c:pt>
                <c:pt idx="3">
                  <c:v>3.7135901920000006E-2</c:v>
                </c:pt>
                <c:pt idx="4">
                  <c:v>2.5490556000000001E-2</c:v>
                </c:pt>
                <c:pt idx="5">
                  <c:v>2.0018093135040001E-2</c:v>
                </c:pt>
                <c:pt idx="6">
                  <c:v>1.9188828880000001E-2</c:v>
                </c:pt>
                <c:pt idx="7">
                  <c:v>1.5544258080000001E-2</c:v>
                </c:pt>
                <c:pt idx="8">
                  <c:v>1.387983584E-2</c:v>
                </c:pt>
                <c:pt idx="9">
                  <c:v>1.3490505600000001E-2</c:v>
                </c:pt>
                <c:pt idx="10">
                  <c:v>3.8703726672000005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42.95150088073387</c:v>
                </c:pt>
                <c:pt idx="1">
                  <c:v>1200.0846932615989</c:v>
                </c:pt>
                <c:pt idx="2">
                  <c:v>1267.2056856495171</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35.46625347969962</c:v>
                </c:pt>
                <c:pt idx="1">
                  <c:v>228.04750832320465</c:v>
                </c:pt>
                <c:pt idx="2">
                  <c:v>213.09971991756078</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278.4177543604335</c:v>
                </c:pt>
                <c:pt idx="1">
                  <c:v>1428.1322015848036</c:v>
                </c:pt>
                <c:pt idx="2">
                  <c:v>1480.305405567078</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hoging taalniveau statush</c:v>
                </c:pt>
                <c:pt idx="1">
                  <c:v>Landelijke vreemdelingenvoorz</c:v>
                </c:pt>
              </c:strCache>
            </c:strRef>
          </c:cat>
          <c:val>
            <c:numRef>
              <c:f>Sheet1!$B$2:$B$12</c:f>
              <c:numCache>
                <c:formatCode>General</c:formatCode>
                <c:ptCount val="11"/>
                <c:pt idx="0">
                  <c:v>2.2162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58002807457039995</c:v>
                </c:pt>
                <c:pt idx="1">
                  <c:v>3.5368192180748395</c:v>
                </c:pt>
                <c:pt idx="2">
                  <c:v>3.621346019564552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63947699999999996</c:v>
                </c:pt>
                <c:pt idx="2">
                  <c:v>0.3725109999999999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58002807457039995</c:v>
                </c:pt>
                <c:pt idx="1">
                  <c:v>4.1762962180748398</c:v>
                </c:pt>
                <c:pt idx="2">
                  <c:v>3.99385701956455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60.62810151492658</c:v>
                </c:pt>
                <c:pt idx="1">
                  <c:v>1144.9722298720749</c:v>
                </c:pt>
                <c:pt idx="2">
                  <c:v>1172.336037411638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207.01748138556167</c:v>
                </c:pt>
                <c:pt idx="2">
                  <c:v>120.5927484622855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60.62810151492658</c:v>
                </c:pt>
                <c:pt idx="1">
                  <c:v>1351.9897112576366</c:v>
                </c:pt>
                <c:pt idx="2">
                  <c:v>1292.928785873924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C$2:$C$10</c:f>
              <c:numCache>
                <c:formatCode>General</c:formatCode>
                <c:ptCount val="9"/>
                <c:pt idx="0">
                  <c:v>1172.3360374116387</c:v>
                </c:pt>
                <c:pt idx="2">
                  <c:v>1340.327983361356</c:v>
                </c:pt>
                <c:pt idx="3">
                  <c:v>1279.8740582798989</c:v>
                </c:pt>
                <c:pt idx="4">
                  <c:v>956.27417127903459</c:v>
                </c:pt>
                <c:pt idx="5">
                  <c:v>1015.6121194292123</c:v>
                </c:pt>
                <c:pt idx="7">
                  <c:v>1148.0220830873754</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D$2:$D$10</c:f>
              <c:numCache>
                <c:formatCode>General</c:formatCode>
                <c:ptCount val="9"/>
                <c:pt idx="0">
                  <c:v>120.59274846228553</c:v>
                </c:pt>
                <c:pt idx="2">
                  <c:v>233.90175348117586</c:v>
                </c:pt>
                <c:pt idx="3">
                  <c:v>65.682953020134235</c:v>
                </c:pt>
                <c:pt idx="4">
                  <c:v>193.07122008172797</c:v>
                </c:pt>
                <c:pt idx="5">
                  <c:v>238.57037457434734</c:v>
                </c:pt>
                <c:pt idx="7">
                  <c:v>182.80657528934637</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B$2:$B$10</c:f>
              <c:numCache>
                <c:formatCode>General</c:formatCode>
                <c:ptCount val="9"/>
                <c:pt idx="0">
                  <c:v>1292.9287858739242</c:v>
                </c:pt>
                <c:pt idx="2">
                  <c:v>1574.2297368425318</c:v>
                </c:pt>
                <c:pt idx="3">
                  <c:v>1345.5570113000331</c:v>
                </c:pt>
                <c:pt idx="4">
                  <c:v>1149.3453913607625</c:v>
                </c:pt>
                <c:pt idx="5">
                  <c:v>1254.1824940035597</c:v>
                </c:pt>
                <c:pt idx="7">
                  <c:v>1330.8286583767217</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53369611132335204</c:v>
                </c:pt>
                <c:pt idx="2">
                  <c:v>0.53369611132335204</c:v>
                </c:pt>
                <c:pt idx="3">
                  <c:v>3.5183535932864398</c:v>
                </c:pt>
                <c:pt idx="4">
                  <c:v>3.5368192180748386</c:v>
                </c:pt>
                <c:pt idx="6">
                  <c:v>4.1701875633703409</c:v>
                </c:pt>
                <c:pt idx="7">
                  <c:v>4.0959104143297766</c:v>
                </c:pt>
                <c:pt idx="8">
                  <c:v>4.0959104143297766</c:v>
                </c:pt>
                <c:pt idx="9">
                  <c:v>3.99385701956455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58002807457039995</c:v>
                </c:pt>
                <c:pt idx="5">
                  <c:v>3.536819218074839</c:v>
                </c:pt>
                <c:pt idx="10">
                  <c:v>3.6213460195645517</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2.984657481963088</c:v>
                </c:pt>
                <c:pt idx="3">
                  <c:v>1.8465624788398884E-2</c:v>
                </c:pt>
                <c:pt idx="8">
                  <c:v>0.16491260523477516</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4.6331963247047886E-2</c:v>
                </c:pt>
                <c:pt idx="6">
                  <c:v>6.1086547044979095E-3</c:v>
                </c:pt>
                <c:pt idx="7">
                  <c:v>7.4277149040564538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63947699999999996</c:v>
                </c:pt>
                <c:pt idx="10">
                  <c:v>0.37251099999999998</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0.63947699999999996</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0.26696599999999998</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58002807457039995</c:v>
                </c:pt>
                <c:pt idx="5">
                  <c:v>4.1762962180748389</c:v>
                </c:pt>
                <c:pt idx="10">
                  <c:v>3.993857019564551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Uitkeringsont. min. bijstandsont.</c:v>
                </c:pt>
                <c:pt idx="2">
                  <c:v>Gem. Gestand. inkomen (huishoudens)</c:v>
                </c:pt>
                <c:pt idx="3">
                  <c:v>Gem. gestand. inkomen (huish. kinderen)</c:v>
                </c:pt>
                <c:pt idx="4">
                  <c:v>Ouders lang psychisch medicijngebruik</c:v>
                </c:pt>
                <c:pt idx="5">
                  <c:v>Eenouderhuishoudens</c:v>
                </c:pt>
                <c:pt idx="6">
                  <c:v>Eenouderhuishoudens 2 of meer kinderen</c:v>
                </c:pt>
                <c:pt idx="7">
                  <c:v>Huishoudens laag inkomen (drempel)</c:v>
                </c:pt>
                <c:pt idx="8">
                  <c:v>Jeugdigen in gezinnen armoederisico</c:v>
                </c:pt>
                <c:pt idx="9">
                  <c:v>Bijstandsont. eenouderhuishoudens</c:v>
                </c:pt>
                <c:pt idx="10">
                  <c:v>Overig</c:v>
                </c:pt>
              </c:strCache>
            </c:strRef>
          </c:cat>
          <c:val>
            <c:numRef>
              <c:f>Sheet1!$B$2:$B$12</c:f>
              <c:numCache>
                <c:formatCode>General</c:formatCode>
                <c:ptCount val="11"/>
                <c:pt idx="0">
                  <c:v>2.5396780640400003</c:v>
                </c:pt>
                <c:pt idx="1">
                  <c:v>1.4722879922400001</c:v>
                </c:pt>
                <c:pt idx="2">
                  <c:v>-1.2360290462207999</c:v>
                </c:pt>
                <c:pt idx="3">
                  <c:v>-1.0414982487</c:v>
                </c:pt>
                <c:pt idx="4">
                  <c:v>0.5982371891092445</c:v>
                </c:pt>
                <c:pt idx="5">
                  <c:v>0.58936115992000015</c:v>
                </c:pt>
                <c:pt idx="6">
                  <c:v>0.34751296112000002</c:v>
                </c:pt>
                <c:pt idx="7">
                  <c:v>0.13103245490400001</c:v>
                </c:pt>
                <c:pt idx="8">
                  <c:v>0.11198106488608002</c:v>
                </c:pt>
                <c:pt idx="9">
                  <c:v>9.5987346000000001E-2</c:v>
                </c:pt>
                <c:pt idx="10">
                  <c:v>1.2795082266026991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Voogdij 18 plus</c:v>
                </c:pt>
                <c:pt idx="1">
                  <c:v>Suppletie uitkering IUSD</c:v>
                </c:pt>
                <c:pt idx="2">
                  <c:v>Transformatiefonds SD Jeugd</c:v>
                </c:pt>
              </c:strCache>
            </c:strRef>
          </c:cat>
          <c:val>
            <c:numRef>
              <c:f>Sheet1!$B$2:$B$12</c:f>
              <c:numCache>
                <c:formatCode>General</c:formatCode>
                <c:ptCount val="11"/>
                <c:pt idx="0">
                  <c:v>0.35861900000000002</c:v>
                </c:pt>
                <c:pt idx="1">
                  <c:v>1.3892E-2</c:v>
                </c:pt>
                <c:pt idx="2">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3758551845111997</c:v>
                </c:pt>
                <c:pt idx="1">
                  <c:v>7.3590429175824994</c:v>
                </c:pt>
                <c:pt idx="2">
                  <c:v>7.793833522965273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686245</c:v>
                </c:pt>
                <c:pt idx="1">
                  <c:v>-9.9500000000000001E-4</c:v>
                </c:pt>
                <c:pt idx="2">
                  <c:v>2.3699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0621001845112001</c:v>
                </c:pt>
                <c:pt idx="1">
                  <c:v>7.3580479175824998</c:v>
                </c:pt>
                <c:pt idx="2">
                  <c:v>7.817533522965272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4.78886414786489</c:v>
                </c:pt>
                <c:pt idx="1">
                  <c:v>388.89409277506206</c:v>
                </c:pt>
                <c:pt idx="2">
                  <c:v>411.8709254856668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88.567939492620411</c:v>
                </c:pt>
                <c:pt idx="1">
                  <c:v>-5.2581514559002271E-2</c:v>
                </c:pt>
                <c:pt idx="2">
                  <c:v>1.252444115626486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13.35680364048531</c:v>
                </c:pt>
                <c:pt idx="1">
                  <c:v>388.84151126050307</c:v>
                </c:pt>
                <c:pt idx="2">
                  <c:v>413.1233696012932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C$2:$C$10</c:f>
              <c:numCache>
                <c:formatCode>General</c:formatCode>
                <c:ptCount val="9"/>
                <c:pt idx="0">
                  <c:v>411.87092548566682</c:v>
                </c:pt>
                <c:pt idx="2">
                  <c:v>437.50313530826321</c:v>
                </c:pt>
                <c:pt idx="3">
                  <c:v>393.95832882784163</c:v>
                </c:pt>
                <c:pt idx="4">
                  <c:v>366.00071896405058</c:v>
                </c:pt>
                <c:pt idx="5">
                  <c:v>363.95631200298146</c:v>
                </c:pt>
                <c:pt idx="7">
                  <c:v>390.35462377578426</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D$2:$D$10</c:f>
              <c:numCache>
                <c:formatCode>General</c:formatCode>
                <c:ptCount val="9"/>
                <c:pt idx="0">
                  <c:v>1.2524441156264863</c:v>
                </c:pt>
                <c:pt idx="2">
                  <c:v>0.50097764625059449</c:v>
                </c:pt>
                <c:pt idx="3">
                  <c:v>0.75650369739852108</c:v>
                </c:pt>
                <c:pt idx="4">
                  <c:v>0.6211994128748165</c:v>
                </c:pt>
                <c:pt idx="5">
                  <c:v>0.74411302982731553</c:v>
                </c:pt>
                <c:pt idx="7">
                  <c:v>0.65569844658781196</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B$2:$B$10</c:f>
              <c:numCache>
                <c:formatCode>General</c:formatCode>
                <c:ptCount val="9"/>
                <c:pt idx="0">
                  <c:v>413.12336960129329</c:v>
                </c:pt>
                <c:pt idx="2">
                  <c:v>438.0041129545138</c:v>
                </c:pt>
                <c:pt idx="3">
                  <c:v>394.71483252524013</c:v>
                </c:pt>
                <c:pt idx="4">
                  <c:v>366.62191837692541</c:v>
                </c:pt>
                <c:pt idx="5">
                  <c:v>364.70042503280877</c:v>
                </c:pt>
                <c:pt idx="7">
                  <c:v>391.010322222372</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0.74897501786942622</c:v>
                </c:pt>
                <c:pt idx="1">
                  <c:v>0.79866119965582572</c:v>
                </c:pt>
                <c:pt idx="2">
                  <c:v>0.79322735048109028</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0.74897501786942622</c:v>
                </c:pt>
                <c:pt idx="1">
                  <c:v>0.79866119965582572</c:v>
                </c:pt>
                <c:pt idx="2">
                  <c:v>0.79322735048109028</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0621001845112001</c:v>
                </c:pt>
                <c:pt idx="2">
                  <c:v>4.1235708079028477</c:v>
                </c:pt>
                <c:pt idx="3">
                  <c:v>8.6693748346475168</c:v>
                </c:pt>
                <c:pt idx="4">
                  <c:v>7.3580479175825007</c:v>
                </c:pt>
                <c:pt idx="6">
                  <c:v>7.3580479175824998</c:v>
                </c:pt>
                <c:pt idx="7">
                  <c:v>7.4189111683319986</c:v>
                </c:pt>
                <c:pt idx="8">
                  <c:v>7.4307113053153753</c:v>
                </c:pt>
                <c:pt idx="9">
                  <c:v>7.792838522965273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3758551845111997</c:v>
                </c:pt>
                <c:pt idx="5">
                  <c:v>7.3590429175825003</c:v>
                </c:pt>
                <c:pt idx="10">
                  <c:v>7.79383352296527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6.147062339164714E-2</c:v>
                </c:pt>
                <c:pt idx="2">
                  <c:v>4.5458040267446691</c:v>
                </c:pt>
                <c:pt idx="3">
                  <c:v>0.37591308293498438</c:v>
                </c:pt>
                <c:pt idx="6">
                  <c:v>6.0863250749498665E-2</c:v>
                </c:pt>
                <c:pt idx="7">
                  <c:v>1.1800136983376864E-2</c:v>
                </c:pt>
                <c:pt idx="8">
                  <c:v>0.36212721764989819</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1.686245</c:v>
                </c:pt>
                <c:pt idx="5">
                  <c:v>-9.9500000000007915E-4</c:v>
                </c:pt>
                <c:pt idx="10">
                  <c:v>2.369999999999991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2.4694999999999998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1.6872400000000001</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0621001845112001</c:v>
                </c:pt>
                <c:pt idx="5">
                  <c:v>7.3580479175824998</c:v>
                </c:pt>
                <c:pt idx="10">
                  <c:v>7.8175335229652738</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Inwoners</c:v>
                </c:pt>
                <c:pt idx="2">
                  <c:v>Huishoudens met laag inkomen (drempel)</c:v>
                </c:pt>
                <c:pt idx="3">
                  <c:v>Ouderen</c:v>
                </c:pt>
                <c:pt idx="4">
                  <c:v>Uitkeringsont. min bijstandsont.</c:v>
                </c:pt>
                <c:pt idx="5">
                  <c:v>Gem. gestandaardiseerd inkomen 75 t/m 84</c:v>
                </c:pt>
                <c:pt idx="6">
                  <c:v>Wajong</c:v>
                </c:pt>
                <c:pt idx="7">
                  <c:v>Huishoudens</c:v>
                </c:pt>
                <c:pt idx="8">
                  <c:v>Klantenpotentieel lokaal</c:v>
                </c:pt>
                <c:pt idx="9">
                  <c:v>Gem. gestandaardiseerd inkomen 85+</c:v>
                </c:pt>
                <c:pt idx="10">
                  <c:v>Overig</c:v>
                </c:pt>
              </c:strCache>
            </c:strRef>
          </c:cat>
          <c:val>
            <c:numRef>
              <c:f>Sheet1!$B$2:$B$12</c:f>
              <c:numCache>
                <c:formatCode>General</c:formatCode>
                <c:ptCount val="11"/>
                <c:pt idx="0">
                  <c:v>2.3224468201900663</c:v>
                </c:pt>
                <c:pt idx="1">
                  <c:v>1.0356065902000002</c:v>
                </c:pt>
                <c:pt idx="2">
                  <c:v>0.83791188062400002</c:v>
                </c:pt>
                <c:pt idx="3">
                  <c:v>0.79397502808000009</c:v>
                </c:pt>
                <c:pt idx="4">
                  <c:v>0.33033352247999997</c:v>
                </c:pt>
                <c:pt idx="5">
                  <c:v>0.31946831069010001</c:v>
                </c:pt>
                <c:pt idx="6">
                  <c:v>0.31670683512000009</c:v>
                </c:pt>
                <c:pt idx="7">
                  <c:v>0.24853292099999999</c:v>
                </c:pt>
                <c:pt idx="8">
                  <c:v>0.21145571199999996</c:v>
                </c:pt>
                <c:pt idx="9">
                  <c:v>0.18619055749476002</c:v>
                </c:pt>
                <c:pt idx="10">
                  <c:v>1.191205345086345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WMO</c:v>
                </c:pt>
                <c:pt idx="1">
                  <c:v>Programma Sociaal domein</c:v>
                </c:pt>
              </c:strCache>
            </c:strRef>
          </c:cat>
          <c:val>
            <c:numRef>
              <c:f>Sheet1!$B$2:$B$12</c:f>
              <c:numCache>
                <c:formatCode>General</c:formatCode>
                <c:ptCount val="11"/>
                <c:pt idx="0">
                  <c:v>2.3699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8554694821436002</c:v>
                </c:pt>
                <c:pt idx="1">
                  <c:v>1.8565193937815998</c:v>
                </c:pt>
                <c:pt idx="2">
                  <c:v>1.914214523942239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9284999999999999E-2</c:v>
                </c:pt>
                <c:pt idx="1">
                  <c:v>2.9284999999999999E-2</c:v>
                </c:pt>
                <c:pt idx="2">
                  <c:v>2.9284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8847544821436002</c:v>
                </c:pt>
                <c:pt idx="1">
                  <c:v>1.8858043937815998</c:v>
                </c:pt>
                <c:pt idx="2">
                  <c:v>1.943499523942239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13.83812853602888</c:v>
                </c:pt>
                <c:pt idx="1">
                  <c:v>601.00983935953377</c:v>
                </c:pt>
                <c:pt idx="2">
                  <c:v>619.6874470515506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8.1099418443644424</c:v>
                </c:pt>
                <c:pt idx="1">
                  <c:v>9.4804143735836846</c:v>
                </c:pt>
                <c:pt idx="2">
                  <c:v>9.4804143735836846</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21.94807038039335</c:v>
                </c:pt>
                <c:pt idx="1">
                  <c:v>610.49025373311747</c:v>
                </c:pt>
                <c:pt idx="2">
                  <c:v>629.1678614251343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C$2:$C$10</c:f>
              <c:numCache>
                <c:formatCode>General</c:formatCode>
                <c:ptCount val="9"/>
                <c:pt idx="0">
                  <c:v>619.68744705155063</c:v>
                </c:pt>
                <c:pt idx="2">
                  <c:v>499.51575419618359</c:v>
                </c:pt>
                <c:pt idx="3">
                  <c:v>684.30491386748997</c:v>
                </c:pt>
                <c:pt idx="4">
                  <c:v>436.26759636077065</c:v>
                </c:pt>
                <c:pt idx="5">
                  <c:v>591.29030042692398</c:v>
                </c:pt>
                <c:pt idx="7">
                  <c:v>552.84464121284213</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D$2:$D$10</c:f>
              <c:numCache>
                <c:formatCode>General</c:formatCode>
                <c:ptCount val="9"/>
                <c:pt idx="0">
                  <c:v>9.4804143735836846</c:v>
                </c:pt>
                <c:pt idx="2">
                  <c:v>10.489427539969057</c:v>
                </c:pt>
                <c:pt idx="3">
                  <c:v>8.4453691275167788</c:v>
                </c:pt>
                <c:pt idx="4">
                  <c:v>10.366608289550497</c:v>
                </c:pt>
                <c:pt idx="5">
                  <c:v>9.4602724177071504</c:v>
                </c:pt>
                <c:pt idx="7">
                  <c:v>9.6904193436858712</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B$2:$B$10</c:f>
              <c:numCache>
                <c:formatCode>General</c:formatCode>
                <c:ptCount val="9"/>
                <c:pt idx="0">
                  <c:v>629.16786142513433</c:v>
                </c:pt>
                <c:pt idx="2">
                  <c:v>510.00518173615262</c:v>
                </c:pt>
                <c:pt idx="3">
                  <c:v>692.75028299500661</c:v>
                </c:pt>
                <c:pt idx="4">
                  <c:v>446.63420465032112</c:v>
                </c:pt>
                <c:pt idx="5">
                  <c:v>600.75057284463117</c:v>
                </c:pt>
                <c:pt idx="7">
                  <c:v>562.53506055652792</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8763382383961384</c:v>
                </c:pt>
                <c:pt idx="2">
                  <c:v>1.8763382383961384</c:v>
                </c:pt>
                <c:pt idx="3">
                  <c:v>1.882506928716067</c:v>
                </c:pt>
                <c:pt idx="4">
                  <c:v>1.8858043937815998</c:v>
                </c:pt>
                <c:pt idx="6">
                  <c:v>1.8552492397277218</c:v>
                </c:pt>
                <c:pt idx="7">
                  <c:v>1.8552492397277218</c:v>
                </c:pt>
                <c:pt idx="8">
                  <c:v>1.8552492397277218</c:v>
                </c:pt>
                <c:pt idx="9">
                  <c:v>1.943499523942239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8554694821436002</c:v>
                </c:pt>
                <c:pt idx="5">
                  <c:v>1.8565193937815998</c:v>
                </c:pt>
                <c:pt idx="10">
                  <c:v>1.914214523942239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6.1686903199284493E-3</c:v>
                </c:pt>
                <c:pt idx="3">
                  <c:v>3.2974650655328624E-3</c:v>
                </c:pt>
                <c:pt idx="8">
                  <c:v>8.8250284214518082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8.4162437474616988E-3</c:v>
                </c:pt>
                <c:pt idx="6">
                  <c:v>3.0555154053877986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2.9284999999999999E-2</c:v>
                </c:pt>
                <c:pt idx="5">
                  <c:v>2.9284999999999999E-2</c:v>
                </c:pt>
                <c:pt idx="10">
                  <c:v>2.9284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8847544821436002</c:v>
                </c:pt>
                <c:pt idx="5">
                  <c:v>1.8858043937815998</c:v>
                </c:pt>
                <c:pt idx="10">
                  <c:v>1.943499523942239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Leerlingen VO</c:v>
                </c:pt>
                <c:pt idx="2">
                  <c:v>Huishoudens laag inkomen (drempel)</c:v>
                </c:pt>
                <c:pt idx="3">
                  <c:v>Extra groei leerlingen VO</c:v>
                </c:pt>
                <c:pt idx="4">
                  <c:v>Kernen</c:v>
                </c:pt>
                <c:pt idx="5">
                  <c:v>Land</c:v>
                </c:pt>
                <c:pt idx="6">
                  <c:v>Inwoners</c:v>
                </c:pt>
                <c:pt idx="7">
                  <c:v>Omgevingsadressendichtheid</c:v>
                </c:pt>
                <c:pt idx="8">
                  <c:v>Minderheden</c:v>
                </c:pt>
                <c:pt idx="9">
                  <c:v>Binnenwater</c:v>
                </c:pt>
                <c:pt idx="10">
                  <c:v>Overig</c:v>
                </c:pt>
              </c:strCache>
            </c:strRef>
          </c:cat>
          <c:val>
            <c:numRef>
              <c:f>Sheet1!$B$2:$B$12</c:f>
              <c:numCache>
                <c:formatCode>General</c:formatCode>
                <c:ptCount val="11"/>
                <c:pt idx="0">
                  <c:v>0.90925085680000006</c:v>
                </c:pt>
                <c:pt idx="1">
                  <c:v>0.6801439124480001</c:v>
                </c:pt>
                <c:pt idx="2">
                  <c:v>9.8051017116000005E-2</c:v>
                </c:pt>
                <c:pt idx="3">
                  <c:v>6.2788844352000009E-2</c:v>
                </c:pt>
                <c:pt idx="4">
                  <c:v>4.9899991960000001E-2</c:v>
                </c:pt>
                <c:pt idx="5">
                  <c:v>3.698555068E-2</c:v>
                </c:pt>
                <c:pt idx="6">
                  <c:v>3.1724031040000003E-2</c:v>
                </c:pt>
                <c:pt idx="7">
                  <c:v>2.4784305786240003E-2</c:v>
                </c:pt>
                <c:pt idx="8">
                  <c:v>1.8705648000000002E-2</c:v>
                </c:pt>
                <c:pt idx="9">
                  <c:v>1.35227456E-3</c:v>
                </c:pt>
                <c:pt idx="10">
                  <c:v>5.2809119999941423E-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oorschoolse voorz peuters</c:v>
                </c:pt>
                <c:pt idx="1">
                  <c:v>Aanpak lerarentekort G4 2020-2021</c:v>
                </c:pt>
              </c:strCache>
            </c:strRef>
          </c:cat>
          <c:val>
            <c:numRef>
              <c:f>Sheet1!$B$2:$B$12</c:f>
              <c:numCache>
                <c:formatCode>General</c:formatCode>
                <c:ptCount val="11"/>
                <c:pt idx="0">
                  <c:v>2.9284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9.8699402065599989E-2</c:v>
                </c:pt>
                <c:pt idx="1">
                  <c:v>0.13024840911960001</c:v>
                </c:pt>
                <c:pt idx="2">
                  <c:v>0.1361991920390399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6178000000000002E-2</c:v>
                </c:pt>
                <c:pt idx="1">
                  <c:v>4.1577999999999997E-2</c:v>
                </c:pt>
                <c:pt idx="2">
                  <c:v>4.1577999999999997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1348774020656</c:v>
                </c:pt>
                <c:pt idx="1">
                  <c:v>0.17182640911960001</c:v>
                </c:pt>
                <c:pt idx="2">
                  <c:v>0.1777771920390399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3757553901999997</c:v>
                </c:pt>
                <c:pt idx="1">
                  <c:v>-2.3705917040999998</c:v>
                </c:pt>
                <c:pt idx="2">
                  <c:v>-2.244101007759999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3757553901999997</c:v>
                </c:pt>
                <c:pt idx="1">
                  <c:v>-2.3705917040999998</c:v>
                </c:pt>
                <c:pt idx="2">
                  <c:v>-2.244101007759999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1840643975839065</c:v>
                </c:pt>
                <c:pt idx="1">
                  <c:v>6.8830739903609368</c:v>
                </c:pt>
                <c:pt idx="2">
                  <c:v>7.197547536809172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9002048426913178</c:v>
                </c:pt>
                <c:pt idx="1">
                  <c:v>2.1972203139037152</c:v>
                </c:pt>
                <c:pt idx="2">
                  <c:v>2.197220313903715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0842692402752245</c:v>
                </c:pt>
                <c:pt idx="1">
                  <c:v>9.0802943042646529</c:v>
                </c:pt>
                <c:pt idx="2">
                  <c:v>9.394767850712888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C$2:$C$10</c:f>
              <c:numCache>
                <c:formatCode>General</c:formatCode>
                <c:ptCount val="9"/>
                <c:pt idx="0">
                  <c:v>7.1975475368091724</c:v>
                </c:pt>
                <c:pt idx="2">
                  <c:v>8.3914725083055899</c:v>
                </c:pt>
                <c:pt idx="3">
                  <c:v>8.4182188795517021</c:v>
                </c:pt>
                <c:pt idx="4">
                  <c:v>7.2642070235549037</c:v>
                </c:pt>
                <c:pt idx="5">
                  <c:v>6.9852932799274363</c:v>
                </c:pt>
                <c:pt idx="7">
                  <c:v>7.7647979228349078</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D$2:$D$10</c:f>
              <c:numCache>
                <c:formatCode>General</c:formatCode>
                <c:ptCount val="9"/>
                <c:pt idx="0">
                  <c:v>2.1972203139037152</c:v>
                </c:pt>
                <c:pt idx="2">
                  <c:v>3.5036727791576388</c:v>
                </c:pt>
                <c:pt idx="3">
                  <c:v>0</c:v>
                </c:pt>
                <c:pt idx="4">
                  <c:v>0</c:v>
                </c:pt>
                <c:pt idx="5">
                  <c:v>0</c:v>
                </c:pt>
                <c:pt idx="7">
                  <c:v>0.87591819478940969</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B$2:$B$10</c:f>
              <c:numCache>
                <c:formatCode>General</c:formatCode>
                <c:ptCount val="9"/>
                <c:pt idx="0">
                  <c:v>9.3947678507128884</c:v>
                </c:pt>
                <c:pt idx="2">
                  <c:v>11.895145287463228</c:v>
                </c:pt>
                <c:pt idx="3">
                  <c:v>8.4182188795517021</c:v>
                </c:pt>
                <c:pt idx="4">
                  <c:v>7.2642070235549037</c:v>
                </c:pt>
                <c:pt idx="5">
                  <c:v>6.9852932799274363</c:v>
                </c:pt>
                <c:pt idx="7">
                  <c:v>8.6407161176243186</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13280194985641611</c:v>
                </c:pt>
                <c:pt idx="2">
                  <c:v>0.13280194985641611</c:v>
                </c:pt>
                <c:pt idx="3">
                  <c:v>0.1636777712965628</c:v>
                </c:pt>
                <c:pt idx="4">
                  <c:v>0.16642640911960005</c:v>
                </c:pt>
                <c:pt idx="6">
                  <c:v>0.17144159908293086</c:v>
                </c:pt>
                <c:pt idx="7">
                  <c:v>0.17144159908293086</c:v>
                </c:pt>
                <c:pt idx="8">
                  <c:v>0.17144159908293086</c:v>
                </c:pt>
                <c:pt idx="9">
                  <c:v>0.1777771920390399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9.8699402065599989E-2</c:v>
                </c:pt>
                <c:pt idx="5">
                  <c:v>0.13024840911960001</c:v>
                </c:pt>
                <c:pt idx="10">
                  <c:v>0.1361991920390399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3.0875821440146681E-2</c:v>
                </c:pt>
                <c:pt idx="3">
                  <c:v>2.7486378230372347E-3</c:v>
                </c:pt>
                <c:pt idx="8">
                  <c:v>6.3355929561091122E-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2.0754522091838978E-3</c:v>
                </c:pt>
                <c:pt idx="6">
                  <c:v>3.8481003666915553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3.6178000000000002E-2</c:v>
                </c:pt>
                <c:pt idx="5">
                  <c:v>4.1577999999999997E-2</c:v>
                </c:pt>
                <c:pt idx="10">
                  <c:v>4.1577999999999997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5.3999999999999951E-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1348774020656</c:v>
                </c:pt>
                <c:pt idx="5">
                  <c:v>0.17182640911960001</c:v>
                </c:pt>
                <c:pt idx="10">
                  <c:v>0.1777771920390399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laag inkomen (drempel)</c:v>
                </c:pt>
                <c:pt idx="3">
                  <c:v>Eenouderhuishoudens</c:v>
                </c:pt>
                <c:pt idx="4">
                  <c:v>Huishoudens</c:v>
                </c:pt>
                <c:pt idx="5">
                  <c:v>Omgevingsadressendichtheid</c:v>
                </c:pt>
                <c:pt idx="6">
                  <c:v>Bijstandsontvangers</c:v>
                </c:pt>
                <c:pt idx="7">
                  <c:v>Uitkeringsontvangers</c:v>
                </c:pt>
                <c:pt idx="8">
                  <c:v>Ouderen</c:v>
                </c:pt>
                <c:pt idx="9">
                  <c:v>Minderheden</c:v>
                </c:pt>
                <c:pt idx="10">
                  <c:v>Overig</c:v>
                </c:pt>
              </c:strCache>
            </c:strRef>
          </c:cat>
          <c:val>
            <c:numRef>
              <c:f>Sheet1!$B$2:$B$12</c:f>
              <c:numCache>
                <c:formatCode>General</c:formatCode>
                <c:ptCount val="11"/>
                <c:pt idx="0">
                  <c:v>5.1039547000000005E-2</c:v>
                </c:pt>
                <c:pt idx="1">
                  <c:v>2.3487984520000001E-2</c:v>
                </c:pt>
                <c:pt idx="2">
                  <c:v>1.6972628712000001E-2</c:v>
                </c:pt>
                <c:pt idx="3">
                  <c:v>9.0454800800000013E-3</c:v>
                </c:pt>
                <c:pt idx="4">
                  <c:v>6.2310248000000002E-3</c:v>
                </c:pt>
                <c:pt idx="5">
                  <c:v>4.8528710630400011E-3</c:v>
                </c:pt>
                <c:pt idx="6">
                  <c:v>4.5689399600000007E-3</c:v>
                </c:pt>
                <c:pt idx="7">
                  <c:v>3.7670505600000005E-3</c:v>
                </c:pt>
                <c:pt idx="8">
                  <c:v>3.5506556799999997E-3</c:v>
                </c:pt>
                <c:pt idx="9">
                  <c:v>3.2807424000000003E-3</c:v>
                </c:pt>
                <c:pt idx="10">
                  <c:v>9.4022672639999527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Gezond in de stad</c:v>
                </c:pt>
                <c:pt idx="1">
                  <c:v>Gezondsheidsachterstanden</c:v>
                </c:pt>
              </c:strCache>
            </c:strRef>
          </c:cat>
          <c:val>
            <c:numRef>
              <c:f>Sheet1!$B$2:$B$12</c:f>
              <c:numCache>
                <c:formatCode>General</c:formatCode>
                <c:ptCount val="11"/>
                <c:pt idx="0">
                  <c:v>4.1577999999999997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2326763307000004</c:v>
                </c:pt>
                <c:pt idx="1">
                  <c:v>3.3206123877599998</c:v>
                </c:pt>
                <c:pt idx="2">
                  <c:v>3.482646173760000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2326000000000001E-2</c:v>
                </c:pt>
                <c:pt idx="1">
                  <c:v>6.1219999999999997E-2</c:v>
                </c:pt>
                <c:pt idx="2">
                  <c:v>6.2644000000000005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2650023307000002</c:v>
                </c:pt>
                <c:pt idx="1">
                  <c:v>3.3818323877599998</c:v>
                </c:pt>
                <c:pt idx="2">
                  <c:v>3.545290173760000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C$2:$C$10</c:f>
              <c:numCache>
                <c:formatCode>General</c:formatCode>
                <c:ptCount val="9"/>
                <c:pt idx="0">
                  <c:v>184.04302561750251</c:v>
                </c:pt>
                <c:pt idx="2">
                  <c:v>190.13238096073562</c:v>
                </c:pt>
                <c:pt idx="3">
                  <c:v>188.14526392296645</c:v>
                </c:pt>
                <c:pt idx="4">
                  <c:v>176.57702821975258</c:v>
                </c:pt>
                <c:pt idx="5">
                  <c:v>181.445872244898</c:v>
                </c:pt>
                <c:pt idx="7">
                  <c:v>184.07513633708817</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D$2:$D$10</c:f>
              <c:numCache>
                <c:formatCode>General</c:formatCode>
                <c:ptCount val="9"/>
                <c:pt idx="0">
                  <c:v>3.3104687417428531</c:v>
                </c:pt>
                <c:pt idx="2">
                  <c:v>4.846271732811922</c:v>
                </c:pt>
                <c:pt idx="3">
                  <c:v>4.7554928978028412</c:v>
                </c:pt>
                <c:pt idx="4">
                  <c:v>4.5266303208219751</c:v>
                </c:pt>
                <c:pt idx="5">
                  <c:v>4.4840397697540553</c:v>
                </c:pt>
                <c:pt idx="7">
                  <c:v>4.6531086802976986</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B$2:$B$10</c:f>
              <c:numCache>
                <c:formatCode>General</c:formatCode>
                <c:ptCount val="9"/>
                <c:pt idx="0">
                  <c:v>187.35349435924536</c:v>
                </c:pt>
                <c:pt idx="2">
                  <c:v>194.97865269354756</c:v>
                </c:pt>
                <c:pt idx="3">
                  <c:v>192.90075682076929</c:v>
                </c:pt>
                <c:pt idx="4">
                  <c:v>181.10365854057454</c:v>
                </c:pt>
                <c:pt idx="5">
                  <c:v>185.92991201465205</c:v>
                </c:pt>
                <c:pt idx="7">
                  <c:v>188.72824501738586</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2514632898290046</c:v>
                </c:pt>
                <c:pt idx="2">
                  <c:v>3.2514632898290046</c:v>
                </c:pt>
                <c:pt idx="3">
                  <c:v>3.2514632898290046</c:v>
                </c:pt>
                <c:pt idx="4">
                  <c:v>3.3529383877599996</c:v>
                </c:pt>
                <c:pt idx="6">
                  <c:v>3.3818323877599998</c:v>
                </c:pt>
                <c:pt idx="7">
                  <c:v>3.3818323877599998</c:v>
                </c:pt>
                <c:pt idx="8">
                  <c:v>3.3818323877599998</c:v>
                </c:pt>
                <c:pt idx="9">
                  <c:v>3.543866173760000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2326763307000004</c:v>
                </c:pt>
                <c:pt idx="5">
                  <c:v>3.3206123877599998</c:v>
                </c:pt>
                <c:pt idx="10">
                  <c:v>3.482646173760000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3">
                  <c:v>0.10147509793099516</c:v>
                </c:pt>
                <c:pt idx="8">
                  <c:v>0.16203378600000029</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3539040870995755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3.2326000000000001E-2</c:v>
                </c:pt>
                <c:pt idx="5">
                  <c:v>6.1219999999999997E-2</c:v>
                </c:pt>
                <c:pt idx="10">
                  <c:v>6.2644000000000005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2.8893999999999996E-2</c:v>
                </c:pt>
                <c:pt idx="9">
                  <c:v>1.4240000000000086E-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2650023307000002</c:v>
                </c:pt>
                <c:pt idx="5">
                  <c:v>3.3818323877599998</c:v>
                </c:pt>
                <c:pt idx="10">
                  <c:v>3.545290173760000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Huishoudens</c:v>
                </c:pt>
                <c:pt idx="2">
                  <c:v>Klantenpotentieel lokaal</c:v>
                </c:pt>
                <c:pt idx="3">
                  <c:v>Klantenpotentieel regionaal</c:v>
                </c:pt>
                <c:pt idx="4">
                  <c:v>Opp. historische kernen &lt;40 ha</c:v>
                </c:pt>
                <c:pt idx="10">
                  <c:v>Overig</c:v>
                </c:pt>
              </c:strCache>
            </c:strRef>
          </c:cat>
          <c:val>
            <c:numRef>
              <c:f>Sheet1!$B$2:$B$12</c:f>
              <c:numCache>
                <c:formatCode>General</c:formatCode>
                <c:ptCount val="11"/>
                <c:pt idx="0">
                  <c:v>1.58040581556</c:v>
                </c:pt>
                <c:pt idx="1">
                  <c:v>1.0027701501999999</c:v>
                </c:pt>
                <c:pt idx="2">
                  <c:v>0.83308160000000009</c:v>
                </c:pt>
                <c:pt idx="3">
                  <c:v>6.6388608000000002E-2</c:v>
                </c:pt>
                <c:pt idx="5">
                  <c:v>#N/A</c:v>
                </c:pt>
                <c:pt idx="6">
                  <c:v>#N/A</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4.78362257471505</c:v>
                </c:pt>
                <c:pt idx="1">
                  <c:v>-125.27568060561221</c:v>
                </c:pt>
                <c:pt idx="2">
                  <c:v>-118.5911857401046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24.78362257471505</c:v>
                </c:pt>
                <c:pt idx="1">
                  <c:v>-125.27568060561221</c:v>
                </c:pt>
                <c:pt idx="2">
                  <c:v>-118.5911857401046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Combinatiefuncties</c:v>
                </c:pt>
                <c:pt idx="1">
                  <c:v>Bibliotheekmiddelen</c:v>
                </c:pt>
              </c:strCache>
            </c:strRef>
          </c:cat>
          <c:val>
            <c:numRef>
              <c:f>Sheet1!$B$2:$B$12</c:f>
              <c:numCache>
                <c:formatCode>General</c:formatCode>
                <c:ptCount val="11"/>
                <c:pt idx="0">
                  <c:v>6.2644000000000005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7588372477234304</c:v>
                </c:pt>
                <c:pt idx="1">
                  <c:v>3.8957261411240678</c:v>
                </c:pt>
                <c:pt idx="2">
                  <c:v>4.078099204543386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9672E-2</c:v>
                </c:pt>
                <c:pt idx="1">
                  <c:v>2.9672E-2</c:v>
                </c:pt>
                <c:pt idx="2">
                  <c:v>1.477672000000000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7885092477234306</c:v>
                </c:pt>
                <c:pt idx="1">
                  <c:v>3.9253981411240679</c:v>
                </c:pt>
                <c:pt idx="2">
                  <c:v>5.555771204543386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97.42829180752301</c:v>
                </c:pt>
                <c:pt idx="1">
                  <c:v>205.87254352502603</c:v>
                </c:pt>
                <c:pt idx="2">
                  <c:v>215.5101836148278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5584852145595882</c:v>
                </c:pt>
                <c:pt idx="1">
                  <c:v>1.5680388944670507</c:v>
                </c:pt>
                <c:pt idx="2">
                  <c:v>78.08867515721608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98.98677702208258</c:v>
                </c:pt>
                <c:pt idx="1">
                  <c:v>207.4405824194931</c:v>
                </c:pt>
                <c:pt idx="2">
                  <c:v>293.5988587720439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C$2:$C$10</c:f>
              <c:numCache>
                <c:formatCode>General</c:formatCode>
                <c:ptCount val="9"/>
                <c:pt idx="0">
                  <c:v>215.51018361482781</c:v>
                </c:pt>
                <c:pt idx="2">
                  <c:v>246.64823484682509</c:v>
                </c:pt>
                <c:pt idx="3">
                  <c:v>230.1982501052521</c:v>
                </c:pt>
                <c:pt idx="4">
                  <c:v>278.86084998512365</c:v>
                </c:pt>
                <c:pt idx="5">
                  <c:v>274.83026341406207</c:v>
                </c:pt>
                <c:pt idx="7">
                  <c:v>257.63439958781572</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D$2:$D$10</c:f>
              <c:numCache>
                <c:formatCode>General</c:formatCode>
                <c:ptCount val="9"/>
                <c:pt idx="0">
                  <c:v>78.088675157216088</c:v>
                </c:pt>
                <c:pt idx="2">
                  <c:v>3.5730592400782117</c:v>
                </c:pt>
                <c:pt idx="3">
                  <c:v>8.1256583497366606</c:v>
                </c:pt>
                <c:pt idx="4">
                  <c:v>7.3438351855734956</c:v>
                </c:pt>
                <c:pt idx="5">
                  <c:v>4.9635269492412348</c:v>
                </c:pt>
                <c:pt idx="7">
                  <c:v>6.001519931157401</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B$2:$B$10</c:f>
              <c:numCache>
                <c:formatCode>General</c:formatCode>
                <c:ptCount val="9"/>
                <c:pt idx="0">
                  <c:v>293.59885877204391</c:v>
                </c:pt>
                <c:pt idx="2">
                  <c:v>250.2212940869033</c:v>
                </c:pt>
                <c:pt idx="3">
                  <c:v>238.32390845498881</c:v>
                </c:pt>
                <c:pt idx="4">
                  <c:v>286.20468517069713</c:v>
                </c:pt>
                <c:pt idx="5">
                  <c:v>279.79379036330334</c:v>
                </c:pt>
                <c:pt idx="7">
                  <c:v>263.63591951897314</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7885092477234306</c:v>
                </c:pt>
                <c:pt idx="2">
                  <c:v>3.8064089685771751</c:v>
                </c:pt>
                <c:pt idx="3">
                  <c:v>3.8064089685771751</c:v>
                </c:pt>
                <c:pt idx="4">
                  <c:v>3.9253981411240675</c:v>
                </c:pt>
                <c:pt idx="6">
                  <c:v>3.9253981411240679</c:v>
                </c:pt>
                <c:pt idx="7">
                  <c:v>3.9181073035022678</c:v>
                </c:pt>
                <c:pt idx="8">
                  <c:v>3.9181073035022678</c:v>
                </c:pt>
                <c:pt idx="9">
                  <c:v>4.107771204543386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7588372477234304</c:v>
                </c:pt>
                <c:pt idx="5">
                  <c:v>3.8957261411240678</c:v>
                </c:pt>
                <c:pt idx="10">
                  <c:v>4.078099204543386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9955236268268665E-2</c:v>
                </c:pt>
                <c:pt idx="3">
                  <c:v>0.11898917254689238</c:v>
                </c:pt>
                <c:pt idx="6">
                  <c:v>8.1570320711483214E-3</c:v>
                </c:pt>
                <c:pt idx="8">
                  <c:v>0.18966390104111866</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2.0555154145236935E-3</c:v>
                </c:pt>
                <c:pt idx="7">
                  <c:v>1.5447869692948176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2.9672E-2</c:v>
                </c:pt>
                <c:pt idx="5">
                  <c:v>2.9672E-2</c:v>
                </c:pt>
                <c:pt idx="10">
                  <c:v>1.4776720000000001</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1.448000000000000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7885092477234306</c:v>
                </c:pt>
                <c:pt idx="5">
                  <c:v>3.9253981411240679</c:v>
                </c:pt>
                <c:pt idx="10">
                  <c:v>5.555771204543386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pp. bebouwing kern *bodemfactor kern</c:v>
                </c:pt>
                <c:pt idx="2">
                  <c:v>Inwoners</c:v>
                </c:pt>
                <c:pt idx="3">
                  <c:v>Woonruimten * bodemfactor kern</c:v>
                </c:pt>
                <c:pt idx="4">
                  <c:v>Oppervlak bebouwing woonkernen</c:v>
                </c:pt>
                <c:pt idx="5">
                  <c:v>Omgevingsadressendichtheid</c:v>
                </c:pt>
                <c:pt idx="6">
                  <c:v>Bedrijfsvestigingen</c:v>
                </c:pt>
                <c:pt idx="7">
                  <c:v>Kernen * bodemfactor buiten kom</c:v>
                </c:pt>
                <c:pt idx="8">
                  <c:v>Land</c:v>
                </c:pt>
                <c:pt idx="9">
                  <c:v>Land * bodemfactor gemeente</c:v>
                </c:pt>
                <c:pt idx="10">
                  <c:v>Overig</c:v>
                </c:pt>
              </c:strCache>
            </c:strRef>
          </c:cat>
          <c:val>
            <c:numRef>
              <c:f>Sheet1!$B$2:$B$12</c:f>
              <c:numCache>
                <c:formatCode>General</c:formatCode>
                <c:ptCount val="11"/>
                <c:pt idx="0">
                  <c:v>0.78611559312000012</c:v>
                </c:pt>
                <c:pt idx="1">
                  <c:v>0.58269017195999995</c:v>
                </c:pt>
                <c:pt idx="2">
                  <c:v>0.49782325631999996</c:v>
                </c:pt>
                <c:pt idx="3">
                  <c:v>0.45228375660000003</c:v>
                </c:pt>
                <c:pt idx="4">
                  <c:v>0.43095259584000001</c:v>
                </c:pt>
                <c:pt idx="5">
                  <c:v>0.33840109823520004</c:v>
                </c:pt>
                <c:pt idx="6">
                  <c:v>0.19749279368</c:v>
                </c:pt>
                <c:pt idx="7">
                  <c:v>0.1678867372</c:v>
                </c:pt>
                <c:pt idx="8">
                  <c:v>0.12107493424000002</c:v>
                </c:pt>
                <c:pt idx="9">
                  <c:v>0.11013857815999999</c:v>
                </c:pt>
                <c:pt idx="10">
                  <c:v>0.39323968918818641</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Deltaprogr ruimtelijke adaptatie</c:v>
                </c:pt>
                <c:pt idx="1">
                  <c:v>VTH provinciale taken</c:v>
                </c:pt>
                <c:pt idx="2">
                  <c:v>Bodemsanering</c:v>
                </c:pt>
              </c:strCache>
            </c:strRef>
          </c:cat>
          <c:val>
            <c:numRef>
              <c:f>Sheet1!$B$2:$B$12</c:f>
              <c:numCache>
                <c:formatCode>General</c:formatCode>
                <c:ptCount val="11"/>
                <c:pt idx="0">
                  <c:v>1.448</c:v>
                </c:pt>
                <c:pt idx="1">
                  <c:v>2.9672E-2</c:v>
                </c:pt>
                <c:pt idx="2">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70885792991073704</c:v>
                </c:pt>
                <c:pt idx="1">
                  <c:v>-0.73138918459730817</c:v>
                </c:pt>
                <c:pt idx="2">
                  <c:v>-0.76922670817699612</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70885792991073704</c:v>
                </c:pt>
                <c:pt idx="1">
                  <c:v>-0.73138918459730817</c:v>
                </c:pt>
                <c:pt idx="2">
                  <c:v>-0.76922670817699612</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7.231888749973059</c:v>
                </c:pt>
                <c:pt idx="1">
                  <c:v>-38.650805083618252</c:v>
                </c:pt>
                <c:pt idx="2">
                  <c:v>-40.650357140886548</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7.231888749973059</c:v>
                </c:pt>
                <c:pt idx="1">
                  <c:v>-38.650805083618252</c:v>
                </c:pt>
                <c:pt idx="2">
                  <c:v>-40.650357140886548</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C$2:$C$10</c:f>
              <c:numCache>
                <c:formatCode>General</c:formatCode>
                <c:ptCount val="9"/>
                <c:pt idx="0">
                  <c:v>-40.650357140886548</c:v>
                </c:pt>
                <c:pt idx="2">
                  <c:v>-39.082647985055402</c:v>
                </c:pt>
                <c:pt idx="3">
                  <c:v>-38.155293933572956</c:v>
                </c:pt>
                <c:pt idx="4">
                  <c:v>-38.155161260798259</c:v>
                </c:pt>
                <c:pt idx="5">
                  <c:v>-41.884119349974519</c:v>
                </c:pt>
                <c:pt idx="7">
                  <c:v>-39.319305632350286</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B$2:$B$10</c:f>
              <c:numCache>
                <c:formatCode>General</c:formatCode>
                <c:ptCount val="9"/>
                <c:pt idx="0">
                  <c:v>-40.650357140886548</c:v>
                </c:pt>
                <c:pt idx="2">
                  <c:v>-39.082647985055402</c:v>
                </c:pt>
                <c:pt idx="3">
                  <c:v>-38.155293933572956</c:v>
                </c:pt>
                <c:pt idx="4">
                  <c:v>-38.155161260798259</c:v>
                </c:pt>
                <c:pt idx="5">
                  <c:v>-41.884119349974519</c:v>
                </c:pt>
                <c:pt idx="7">
                  <c:v>-39.319305632350286</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C$2:$C$10</c:f>
              <c:numCache>
                <c:formatCode>General</c:formatCode>
                <c:ptCount val="9"/>
                <c:pt idx="0">
                  <c:v>-118.59118574010463</c:v>
                </c:pt>
                <c:pt idx="2">
                  <c:v>-93.268489412883781</c:v>
                </c:pt>
                <c:pt idx="3">
                  <c:v>-129.66402443368622</c:v>
                </c:pt>
                <c:pt idx="4">
                  <c:v>-121.49559351016983</c:v>
                </c:pt>
                <c:pt idx="5">
                  <c:v>-158.94398426164312</c:v>
                </c:pt>
                <c:pt idx="7">
                  <c:v>-125.84302290459573</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B$2:$B$10</c:f>
              <c:numCache>
                <c:formatCode>General</c:formatCode>
                <c:ptCount val="9"/>
                <c:pt idx="0">
                  <c:v>-118.59118574010463</c:v>
                </c:pt>
                <c:pt idx="2">
                  <c:v>-93.268489412883781</c:v>
                </c:pt>
                <c:pt idx="3">
                  <c:v>-129.66402443368622</c:v>
                </c:pt>
                <c:pt idx="4">
                  <c:v>-121.49559351016983</c:v>
                </c:pt>
                <c:pt idx="5">
                  <c:v>-158.94398426164312</c:v>
                </c:pt>
                <c:pt idx="7">
                  <c:v>-125.84302290459573</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70902403669957792</c:v>
                </c:pt>
                <c:pt idx="2">
                  <c:v>-0.70902403669957792</c:v>
                </c:pt>
                <c:pt idx="3">
                  <c:v>-0.73138918459730817</c:v>
                </c:pt>
                <c:pt idx="4">
                  <c:v>-0.73138918459730817</c:v>
                </c:pt>
                <c:pt idx="6">
                  <c:v>-0.73344305011123234</c:v>
                </c:pt>
                <c:pt idx="7">
                  <c:v>-0.73344305011123234</c:v>
                </c:pt>
                <c:pt idx="8">
                  <c:v>-0.76922670817699612</c:v>
                </c:pt>
                <c:pt idx="9">
                  <c:v>-0.7692267081769961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70885792991073704</c:v>
                </c:pt>
                <c:pt idx="5">
                  <c:v>-0.73138918459730817</c:v>
                </c:pt>
                <c:pt idx="10">
                  <c:v>-0.7692267081769961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6610678884092299E-4</c:v>
                </c:pt>
                <c:pt idx="3">
                  <c:v>2.2365147897730212E-2</c:v>
                </c:pt>
                <c:pt idx="6">
                  <c:v>2.0538655139242029E-3</c:v>
                </c:pt>
                <c:pt idx="8">
                  <c:v>3.5783658065763745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70885792991073704</c:v>
                </c:pt>
                <c:pt idx="5">
                  <c:v>-0.73138918459730817</c:v>
                </c:pt>
                <c:pt idx="10">
                  <c:v>-0.7692267081769961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Inwoners</c:v>
                </c:pt>
                <c:pt idx="3">
                  <c:v>Omgevingsadressendichtheid</c:v>
                </c:pt>
                <c:pt idx="4">
                  <c:v>Land</c:v>
                </c:pt>
                <c:pt idx="5">
                  <c:v>Oeverlengte *dichtheid *bodemf. gem.</c:v>
                </c:pt>
                <c:pt idx="6">
                  <c:v>Land * bodemfactor gemeente</c:v>
                </c:pt>
                <c:pt idx="7">
                  <c:v>Oeverlengte * bodemfactor gemeente</c:v>
                </c:pt>
                <c:pt idx="10">
                  <c:v>Overig</c:v>
                </c:pt>
              </c:strCache>
            </c:strRef>
          </c:cat>
          <c:val>
            <c:numRef>
              <c:f>Sheet1!$B$2:$B$12</c:f>
              <c:numCache>
                <c:formatCode>General</c:formatCode>
                <c:ptCount val="11"/>
                <c:pt idx="0">
                  <c:v>-0.89739287196000006</c:v>
                </c:pt>
                <c:pt idx="1">
                  <c:v>0.26222610336000002</c:v>
                </c:pt>
                <c:pt idx="2">
                  <c:v>-0.16685620172000001</c:v>
                </c:pt>
                <c:pt idx="3">
                  <c:v>2.6170840375680002E-2</c:v>
                </c:pt>
                <c:pt idx="4">
                  <c:v>-1.2787786440000002E-2</c:v>
                </c:pt>
                <c:pt idx="5">
                  <c:v>1.0638350687323935E-2</c:v>
                </c:pt>
                <c:pt idx="6">
                  <c:v>5.6404041200000012E-3</c:v>
                </c:pt>
                <c:pt idx="7">
                  <c:v>3.1344533999999999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3613382791223998</c:v>
                </c:pt>
                <c:pt idx="1">
                  <c:v>1.3977064211933996</c:v>
                </c:pt>
                <c:pt idx="2">
                  <c:v>1.470308889352159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613382791223998</c:v>
                </c:pt>
                <c:pt idx="1">
                  <c:v>1.3977064211933996</c:v>
                </c:pt>
                <c:pt idx="2">
                  <c:v>1.470308889352159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1.502614587026628</c:v>
                </c:pt>
                <c:pt idx="1">
                  <c:v>73.862834708735392</c:v>
                </c:pt>
                <c:pt idx="2">
                  <c:v>77.69956610221211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1.502614587026628</c:v>
                </c:pt>
                <c:pt idx="1">
                  <c:v>73.862834708735392</c:v>
                </c:pt>
                <c:pt idx="2">
                  <c:v>77.69956610221211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C$2:$C$10</c:f>
              <c:numCache>
                <c:formatCode>General</c:formatCode>
                <c:ptCount val="9"/>
                <c:pt idx="0">
                  <c:v>77.699566102212117</c:v>
                </c:pt>
                <c:pt idx="2">
                  <c:v>78.972480400359359</c:v>
                </c:pt>
                <c:pt idx="3">
                  <c:v>91.487526486056282</c:v>
                </c:pt>
                <c:pt idx="4">
                  <c:v>90.019768561753011</c:v>
                </c:pt>
                <c:pt idx="5">
                  <c:v>91.89745124669389</c:v>
                </c:pt>
                <c:pt idx="7">
                  <c:v>88.094306673715636</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B$2:$B$10</c:f>
              <c:numCache>
                <c:formatCode>General</c:formatCode>
                <c:ptCount val="9"/>
                <c:pt idx="0">
                  <c:v>77.699566102212117</c:v>
                </c:pt>
                <c:pt idx="2">
                  <c:v>78.972480400359359</c:v>
                </c:pt>
                <c:pt idx="3">
                  <c:v>91.487526486056282</c:v>
                </c:pt>
                <c:pt idx="4">
                  <c:v>90.019768561753011</c:v>
                </c:pt>
                <c:pt idx="5">
                  <c:v>91.89745124669389</c:v>
                </c:pt>
                <c:pt idx="7">
                  <c:v>88.094306673715636</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3550009134233176</c:v>
                </c:pt>
                <c:pt idx="2">
                  <c:v>1.3550009134233176</c:v>
                </c:pt>
                <c:pt idx="3">
                  <c:v>1.3550009134233176</c:v>
                </c:pt>
                <c:pt idx="4">
                  <c:v>1.3977064211933996</c:v>
                </c:pt>
                <c:pt idx="6">
                  <c:v>1.3977064211933996</c:v>
                </c:pt>
                <c:pt idx="7">
                  <c:v>1.4019130776811954</c:v>
                </c:pt>
                <c:pt idx="8">
                  <c:v>1.4019130776811954</c:v>
                </c:pt>
                <c:pt idx="9">
                  <c:v>1.470308889352159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3613382791223998</c:v>
                </c:pt>
                <c:pt idx="5">
                  <c:v>1.3977064211933996</c:v>
                </c:pt>
                <c:pt idx="10">
                  <c:v>1.470308889352159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3">
                  <c:v>4.2705507770081898E-2</c:v>
                </c:pt>
                <c:pt idx="6">
                  <c:v>4.2066564877959014E-3</c:v>
                </c:pt>
                <c:pt idx="8">
                  <c:v>6.8395811670964354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6.3373656990820893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3613382791223998</c:v>
                </c:pt>
                <c:pt idx="5">
                  <c:v>1.3977064211933996</c:v>
                </c:pt>
                <c:pt idx="10">
                  <c:v>1.470308889352159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Kernen met minstens 500 adressen</c:v>
                </c:pt>
                <c:pt idx="2">
                  <c:v>Omgevingsadressendichtheid</c:v>
                </c:pt>
                <c:pt idx="3">
                  <c:v>Woz waarde niet woningen (in mln)</c:v>
                </c:pt>
                <c:pt idx="4">
                  <c:v>Kernen</c:v>
                </c:pt>
                <c:pt idx="5">
                  <c:v>Huishoudens laag inkomen (drempel)</c:v>
                </c:pt>
                <c:pt idx="6">
                  <c:v>Opp. bebouwing totaal</c:v>
                </c:pt>
                <c:pt idx="7">
                  <c:v>Minderheden</c:v>
                </c:pt>
                <c:pt idx="8">
                  <c:v>Land</c:v>
                </c:pt>
                <c:pt idx="9">
                  <c:v>Bedrijfsvestigingen</c:v>
                </c:pt>
                <c:pt idx="10">
                  <c:v>Overig</c:v>
                </c:pt>
              </c:strCache>
            </c:strRef>
          </c:cat>
          <c:val>
            <c:numRef>
              <c:f>Sheet1!$B$2:$B$12</c:f>
              <c:numCache>
                <c:formatCode>General</c:formatCode>
                <c:ptCount val="11"/>
                <c:pt idx="0">
                  <c:v>0.82522442184</c:v>
                </c:pt>
                <c:pt idx="1">
                  <c:v>0.26848698240000002</c:v>
                </c:pt>
                <c:pt idx="2">
                  <c:v>0.11473573727616003</c:v>
                </c:pt>
                <c:pt idx="3">
                  <c:v>6.9932917235999995E-2</c:v>
                </c:pt>
                <c:pt idx="4">
                  <c:v>3.5470576960000007E-2</c:v>
                </c:pt>
                <c:pt idx="5">
                  <c:v>3.2205680520000002E-2</c:v>
                </c:pt>
                <c:pt idx="6">
                  <c:v>2.727039744E-2</c:v>
                </c:pt>
                <c:pt idx="7">
                  <c:v>2.2369401600000002E-2</c:v>
                </c:pt>
                <c:pt idx="8">
                  <c:v>2.0624073080000003E-2</c:v>
                </c:pt>
                <c:pt idx="9">
                  <c:v>1.7908191600000001E-2</c:v>
                </c:pt>
                <c:pt idx="10">
                  <c:v>3.6080509400000071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iligheidshuiz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127901753478</c:v>
                </c:pt>
                <c:pt idx="1">
                  <c:v>2.1960617136954999</c:v>
                </c:pt>
                <c:pt idx="2">
                  <c:v>2.304552581635200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6.9593000000000002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127901753478</c:v>
                </c:pt>
                <c:pt idx="1">
                  <c:v>2.1960617136954999</c:v>
                </c:pt>
                <c:pt idx="2">
                  <c:v>2.374145581635200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11.76541590829351</c:v>
                </c:pt>
                <c:pt idx="1">
                  <c:v>116.05251353884162</c:v>
                </c:pt>
                <c:pt idx="2">
                  <c:v>121.7857940937060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3.677693811763462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11.76541590829351</c:v>
                </c:pt>
                <c:pt idx="1">
                  <c:v>116.05251353884162</c:v>
                </c:pt>
                <c:pt idx="2">
                  <c:v>125.4634879054695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3757553901999997</c:v>
                </c:pt>
                <c:pt idx="2">
                  <c:v>-2.3763843394800337</c:v>
                </c:pt>
                <c:pt idx="3">
                  <c:v>-2.3763843394800337</c:v>
                </c:pt>
                <c:pt idx="4">
                  <c:v>-2.3705917040999998</c:v>
                </c:pt>
                <c:pt idx="6">
                  <c:v>-2.377066271095357</c:v>
                </c:pt>
                <c:pt idx="7">
                  <c:v>-2.377066271095357</c:v>
                </c:pt>
                <c:pt idx="8">
                  <c:v>-2.2441010077599999</c:v>
                </c:pt>
                <c:pt idx="9">
                  <c:v>-2.2441010077599999</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3757553901999997</c:v>
                </c:pt>
                <c:pt idx="5">
                  <c:v>-2.3705917040999998</c:v>
                </c:pt>
                <c:pt idx="10">
                  <c:v>-2.244101007759999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5.9306555631945968E-3</c:v>
                </c:pt>
                <c:pt idx="3">
                  <c:v>5.7926353800338446E-3</c:v>
                </c:pt>
                <c:pt idx="7">
                  <c:v>0.7024336719130954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6.5596048432284863E-3</c:v>
                </c:pt>
                <c:pt idx="6">
                  <c:v>6.4745669953572829E-3</c:v>
                </c:pt>
                <c:pt idx="8">
                  <c:v>0.56946840857773839</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3757553901999997</c:v>
                </c:pt>
                <c:pt idx="5">
                  <c:v>-2.3705917040999998</c:v>
                </c:pt>
                <c:pt idx="10">
                  <c:v>-2.2441010077599999</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C$2:$C$10</c:f>
              <c:numCache>
                <c:formatCode>General</c:formatCode>
                <c:ptCount val="9"/>
                <c:pt idx="0">
                  <c:v>121.78579409370609</c:v>
                </c:pt>
                <c:pt idx="2">
                  <c:v>121.16067069914924</c:v>
                </c:pt>
                <c:pt idx="3">
                  <c:v>120.84238990971964</c:v>
                </c:pt>
                <c:pt idx="4">
                  <c:v>122.61712097399872</c:v>
                </c:pt>
                <c:pt idx="5">
                  <c:v>121.61741500734692</c:v>
                </c:pt>
                <c:pt idx="7">
                  <c:v>121.55939914755362</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D$2:$D$10</c:f>
              <c:numCache>
                <c:formatCode>General</c:formatCode>
                <c:ptCount val="9"/>
                <c:pt idx="0">
                  <c:v>3.6776938117634623</c:v>
                </c:pt>
                <c:pt idx="2">
                  <c:v>3.6776938117634623</c:v>
                </c:pt>
                <c:pt idx="3">
                  <c:v>3.7023461190615525</c:v>
                </c:pt>
                <c:pt idx="4">
                  <c:v>3.6481966869364646</c:v>
                </c:pt>
                <c:pt idx="5">
                  <c:v>3.6417059131344844</c:v>
                </c:pt>
                <c:pt idx="7">
                  <c:v>3.6674856327239906</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eerssen</c:v>
                </c:pt>
                <c:pt idx="2">
                  <c:v>Dantumadiel</c:v>
                </c:pt>
                <c:pt idx="3">
                  <c:v>Druten</c:v>
                </c:pt>
                <c:pt idx="4">
                  <c:v>West Maas en Waal</c:v>
                </c:pt>
                <c:pt idx="5">
                  <c:v>Eersel</c:v>
                </c:pt>
                <c:pt idx="7">
                  <c:v>4 gemeenten</c:v>
                </c:pt>
                <c:pt idx="8">
                  <c:v>Landelijk</c:v>
                </c:pt>
              </c:strCache>
            </c:strRef>
          </c:cat>
          <c:val>
            <c:numRef>
              <c:f>Sheet1!$B$2:$B$10</c:f>
              <c:numCache>
                <c:formatCode>General</c:formatCode>
                <c:ptCount val="9"/>
                <c:pt idx="0">
                  <c:v>125.46348790546956</c:v>
                </c:pt>
                <c:pt idx="2">
                  <c:v>124.8383645109127</c:v>
                </c:pt>
                <c:pt idx="3">
                  <c:v>124.5447360287812</c:v>
                </c:pt>
                <c:pt idx="4">
                  <c:v>126.26531766093517</c:v>
                </c:pt>
                <c:pt idx="5">
                  <c:v>125.25912092048139</c:v>
                </c:pt>
                <c:pt idx="7">
                  <c:v>125.22688478027762</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1207335367523261</c:v>
                </c:pt>
                <c:pt idx="2">
                  <c:v>2.1207335367523261</c:v>
                </c:pt>
                <c:pt idx="3">
                  <c:v>2.128958071356696</c:v>
                </c:pt>
                <c:pt idx="4">
                  <c:v>2.1960617136954999</c:v>
                </c:pt>
                <c:pt idx="6">
                  <c:v>2.1960617136954999</c:v>
                </c:pt>
                <c:pt idx="7">
                  <c:v>2.1973315672741931</c:v>
                </c:pt>
                <c:pt idx="8">
                  <c:v>2.1973315672741931</c:v>
                </c:pt>
                <c:pt idx="9">
                  <c:v>2.3045525816352006</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127901753478</c:v>
                </c:pt>
                <c:pt idx="5">
                  <c:v>2.1960617136954999</c:v>
                </c:pt>
                <c:pt idx="10">
                  <c:v>2.304552581635200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8.2245346043700179E-3</c:v>
                </c:pt>
                <c:pt idx="3">
                  <c:v>6.7103642338803893E-2</c:v>
                </c:pt>
                <c:pt idx="6">
                  <c:v>2.1428914569818474E-3</c:v>
                </c:pt>
                <c:pt idx="8">
                  <c:v>0.10722101436100745</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7.1682167256740996E-3</c:v>
                </c:pt>
                <c:pt idx="7">
                  <c:v>8.7303787828854563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6.9593000000000002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6.9593000000000002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127901753478</c:v>
                </c:pt>
                <c:pt idx="5">
                  <c:v>2.1960617136954999</c:v>
                </c:pt>
                <c:pt idx="10">
                  <c:v>2.374145581635200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Woonruimten</c:v>
                </c:pt>
                <c:pt idx="2">
                  <c:v>Vast bedrag voor iedere gemeente</c:v>
                </c:pt>
                <c:pt idx="3">
                  <c:v>Omgevingsadressendichtheid</c:v>
                </c:pt>
                <c:pt idx="4">
                  <c:v>Bedrijfsvestigingen</c:v>
                </c:pt>
                <c:pt idx="5">
                  <c:v>Klantenpotentieel regionaal</c:v>
                </c:pt>
                <c:pt idx="6">
                  <c:v>Bewoonde oorden 1930</c:v>
                </c:pt>
                <c:pt idx="7">
                  <c:v>Minderheden</c:v>
                </c:pt>
                <c:pt idx="8">
                  <c:v>Land</c:v>
                </c:pt>
                <c:pt idx="9">
                  <c:v>Minderheden (drempel)</c:v>
                </c:pt>
                <c:pt idx="10">
                  <c:v>Overig</c:v>
                </c:pt>
              </c:strCache>
            </c:strRef>
          </c:cat>
          <c:val>
            <c:numRef>
              <c:f>Sheet1!$B$2:$B$12</c:f>
              <c:numCache>
                <c:formatCode>General</c:formatCode>
                <c:ptCount val="11"/>
                <c:pt idx="0">
                  <c:v>1.5566127922800002</c:v>
                </c:pt>
                <c:pt idx="1">
                  <c:v>0.46564828440000006</c:v>
                </c:pt>
                <c:pt idx="2">
                  <c:v>0.28248488112000003</c:v>
                </c:pt>
                <c:pt idx="3">
                  <c:v>-2.9897152084800007E-2</c:v>
                </c:pt>
                <c:pt idx="4">
                  <c:v>2.0453039879999999E-2</c:v>
                </c:pt>
                <c:pt idx="5">
                  <c:v>-1.9765699200000004E-2</c:v>
                </c:pt>
                <c:pt idx="6">
                  <c:v>1.6558721919999998E-2</c:v>
                </c:pt>
                <c:pt idx="7">
                  <c:v>8.1090048000000015E-3</c:v>
                </c:pt>
                <c:pt idx="8">
                  <c:v>4.3487085200000003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goeding raadsleden gemeenten</c:v>
                </c:pt>
                <c:pt idx="1">
                  <c:v>BRP straten</c:v>
                </c:pt>
              </c:strCache>
            </c:strRef>
          </c:cat>
          <c:val>
            <c:numRef>
              <c:f>Sheet1!$B$2:$B$12</c:f>
              <c:numCache>
                <c:formatCode>General</c:formatCode>
                <c:ptCount val="11"/>
                <c:pt idx="0">
                  <c:v>6.9593000000000002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Woonruimten</c:v>
                </c:pt>
                <c:pt idx="2">
                  <c:v>OZB (niet-woningen eigenaar)</c:v>
                </c:pt>
                <c:pt idx="3">
                  <c:v>OZB (niet-woningen gebruiker)</c:v>
                </c:pt>
                <c:pt idx="4">
                  <c:v>Vast bedrag voor iedere gemeente</c:v>
                </c:pt>
                <c:pt idx="10">
                  <c:v>Overig</c:v>
                </c:pt>
              </c:strCache>
            </c:strRef>
          </c:cat>
          <c:val>
            <c:numRef>
              <c:f>Sheet1!$B$2:$B$12</c:f>
              <c:numCache>
                <c:formatCode>General</c:formatCode>
                <c:ptCount val="11"/>
                <c:pt idx="0">
                  <c:v>-1.613202</c:v>
                </c:pt>
                <c:pt idx="1">
                  <c:v>-0.37617628775999995</c:v>
                </c:pt>
                <c:pt idx="2">
                  <c:v>-0.16309810299999999</c:v>
                </c:pt>
                <c:pt idx="3">
                  <c:v>-0.14798819700000002</c:v>
                </c:pt>
                <c:pt idx="4">
                  <c:v>5.63635800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4559717349776</c:v>
                </c:pt>
                <c:pt idx="1">
                  <c:v>1.7245413314258398</c:v>
                </c:pt>
                <c:pt idx="2">
                  <c:v>1.7613942764579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9847999999999998E-2</c:v>
                </c:pt>
                <c:pt idx="1">
                  <c:v>1.9122490000000001</c:v>
                </c:pt>
                <c:pt idx="2">
                  <c:v>1.895667999999999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5158197349775999</c:v>
                </c:pt>
                <c:pt idx="1">
                  <c:v>3.6367903314258401</c:v>
                </c:pt>
                <c:pt idx="2">
                  <c:v>3.6570622764579199</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26.223434197305814</cx:pt>
          <cx:pt idx="1">-2.2441010077599999</cx:pt>
          <cx:pt idx="2">23.979333189545812</cx:pt>
          <cx:pt idx="3">4.0324860000000022</cx:pt>
          <cx:pt idx="4">28.011819189545815</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8-3-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14.bin"/><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microsoft.com/office/2014/relationships/chartEx" Target="../charts/chartEx2.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5.png"/><Relationship Id="rId2" Type="http://schemas.openxmlformats.org/officeDocument/2006/relationships/tags" Target="../tags/tag41.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oleObject" Target="../embeddings/oleObject20.bin"/><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image" Target="../media/image10.svg"/><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6.svg"/><Relationship Id="rId51" Type="http://schemas.openxmlformats.org/officeDocument/2006/relationships/slide" Target="slide2.xml"/><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0.xml"/><Relationship Id="rId6" Type="http://schemas.openxmlformats.org/officeDocument/2006/relationships/image" Target="../media/image3.emf"/></Relationships>
</file>

<file path=ppt/slides/_rels/slide1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2.xml"/><Relationship Id="rId6"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4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0.png"/><Relationship Id="rId11" Type="http://schemas.openxmlformats.org/officeDocument/2006/relationships/chart" Target="../charts/chart5.xml"/><Relationship Id="rId5" Type="http://schemas.openxmlformats.org/officeDocument/2006/relationships/image" Target="../media/image3.emf"/><Relationship Id="rId10" Type="http://schemas.openxmlformats.org/officeDocument/2006/relationships/chart" Target="../charts/chart4.xml"/><Relationship Id="rId4" Type="http://schemas.openxmlformats.org/officeDocument/2006/relationships/oleObject" Target="../embeddings/oleObject22.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slide" Target="slide16.xml"/><Relationship Id="rId12" Type="http://schemas.openxmlformats.org/officeDocument/2006/relationships/image" Target="../media/image8.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10.xml"/><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image" Target="../media/image6.svg"/><Relationship Id="rId4" Type="http://schemas.openxmlformats.org/officeDocument/2006/relationships/oleObject" Target="../embeddings/oleObject6.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52.xml"/><Relationship Id="rId6"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png"/><Relationship Id="rId11" Type="http://schemas.openxmlformats.org/officeDocument/2006/relationships/image" Target="../media/image44.svg"/><Relationship Id="rId5" Type="http://schemas.openxmlformats.org/officeDocument/2006/relationships/image" Target="../media/image3.emf"/><Relationship Id="rId10" Type="http://schemas.openxmlformats.org/officeDocument/2006/relationships/image" Target="../media/image43.png"/><Relationship Id="rId4" Type="http://schemas.openxmlformats.org/officeDocument/2006/relationships/oleObject" Target="../embeddings/oleObject27.bin"/><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chart" Target="../charts/chart11.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8.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12.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chart" Target="../charts/char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13.xml"/><Relationship Id="rId5" Type="http://schemas.openxmlformats.org/officeDocument/2006/relationships/image" Target="../media/image3.emf"/><Relationship Id="rId4" Type="http://schemas.openxmlformats.org/officeDocument/2006/relationships/oleObject" Target="../embeddings/oleObject30.bin"/><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6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62.xml"/><Relationship Id="rId6" Type="http://schemas.openxmlformats.org/officeDocument/2006/relationships/image" Target="../media/image5.png"/></Relationships>
</file>

<file path=ppt/slides/_rels/slide2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png"/><Relationship Id="rId11" Type="http://schemas.openxmlformats.org/officeDocument/2006/relationships/image" Target="../media/image46.svg"/><Relationship Id="rId5" Type="http://schemas.openxmlformats.org/officeDocument/2006/relationships/image" Target="../media/image3.emf"/><Relationship Id="rId10" Type="http://schemas.openxmlformats.org/officeDocument/2006/relationships/image" Target="../media/image45.png"/><Relationship Id="rId4" Type="http://schemas.openxmlformats.org/officeDocument/2006/relationships/oleObject" Target="../embeddings/oleObject32.bin"/><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chart" Target="../charts/chart1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hyperlink" Target="https://kennisopenbaarbestuur.nl/thema/gemeentefonds/" TargetMode="External"/><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youtu.be/Rrb0MrBUALw" TargetMode="External"/><Relationship Id="rId5" Type="http://schemas.openxmlformats.org/officeDocument/2006/relationships/image" Target="../media/image3.emf"/><Relationship Id="rId10" Type="http://schemas.openxmlformats.org/officeDocument/2006/relationships/hyperlink" Target="https://www.rijksoverheid.nl/onderwerpen/financien-gemeenten-en-provincies/documenten/rapporten/2011/07/28/verdeling-van-de-uitkeringen-uit-het-gemeentefonds" TargetMode="External"/><Relationship Id="rId4" Type="http://schemas.openxmlformats.org/officeDocument/2006/relationships/oleObject" Target="../embeddings/oleObject7.bin"/><Relationship Id="rId9" Type="http://schemas.openxmlformats.org/officeDocument/2006/relationships/hyperlink" Target="https://www.rijksoverheid.nl/onderwerpen/financien-gemeenten-en-provincies/documenten/rapporten/2013/05/24/toelichting-op-de-berekening-van-de-uitkeringen-uit-het-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1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xml"/><Relationship Id="rId7" Type="http://schemas.openxmlformats.org/officeDocument/2006/relationships/chart" Target="../charts/chart2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chart" Target="../charts/chart19.xml"/><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46.svg"/></Relationships>
</file>

<file path=ppt/slides/_rels/slide3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7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72.xml"/><Relationship Id="rId6" Type="http://schemas.openxmlformats.org/officeDocument/2006/relationships/image" Target="../media/image5.png"/></Relationships>
</file>

<file path=ppt/slides/_rels/slide33.xml.rels><?xml version="1.0" encoding="UTF-8" standalone="yes"?>
<Relationships xmlns="http://schemas.openxmlformats.org/package/2006/relationships"><Relationship Id="rId8" Type="http://schemas.openxmlformats.org/officeDocument/2006/relationships/chart" Target="../charts/chart21.xml"/><Relationship Id="rId13" Type="http://schemas.openxmlformats.org/officeDocument/2006/relationships/chart" Target="../charts/chart22.xml"/><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50.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11" Type="http://schemas.openxmlformats.org/officeDocument/2006/relationships/image" Target="../media/image49.pn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37.bin"/><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3.emf"/><Relationship Id="rId10" Type="http://schemas.openxmlformats.org/officeDocument/2006/relationships/chart" Target="../charts/chart23.xml"/><Relationship Id="rId4" Type="http://schemas.openxmlformats.org/officeDocument/2006/relationships/oleObject" Target="../embeddings/oleObject38.bin"/><Relationship Id="rId9" Type="http://schemas.openxmlformats.org/officeDocument/2006/relationships/image" Target="../media/image50.svg"/></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8.xml"/><Relationship Id="rId7" Type="http://schemas.openxmlformats.org/officeDocument/2006/relationships/image" Target="../media/image4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24.xml"/><Relationship Id="rId5" Type="http://schemas.openxmlformats.org/officeDocument/2006/relationships/image" Target="../media/image3.emf"/><Relationship Id="rId10" Type="http://schemas.openxmlformats.org/officeDocument/2006/relationships/image" Target="../media/image50.svg"/><Relationship Id="rId4" Type="http://schemas.openxmlformats.org/officeDocument/2006/relationships/oleObject" Target="../embeddings/oleObject3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8.xml"/><Relationship Id="rId7" Type="http://schemas.openxmlformats.org/officeDocument/2006/relationships/chart" Target="../charts/chart2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25.xml"/><Relationship Id="rId11" Type="http://schemas.openxmlformats.org/officeDocument/2006/relationships/image" Target="../media/image50.svg"/><Relationship Id="rId5" Type="http://schemas.openxmlformats.org/officeDocument/2006/relationships/image" Target="../media/image3.emf"/><Relationship Id="rId10" Type="http://schemas.openxmlformats.org/officeDocument/2006/relationships/image" Target="../media/image49.png"/><Relationship Id="rId4" Type="http://schemas.openxmlformats.org/officeDocument/2006/relationships/oleObject" Target="../embeddings/oleObject40.bin"/><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8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82.xml"/><Relationship Id="rId6"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11" Type="http://schemas.openxmlformats.org/officeDocument/2006/relationships/image" Target="../media/image52.svg"/><Relationship Id="rId5" Type="http://schemas.openxmlformats.org/officeDocument/2006/relationships/image" Target="../media/image3.emf"/><Relationship Id="rId10" Type="http://schemas.openxmlformats.org/officeDocument/2006/relationships/image" Target="../media/image51.png"/><Relationship Id="rId4" Type="http://schemas.openxmlformats.org/officeDocument/2006/relationships/oleObject" Target="../embeddings/oleObject42.bin"/><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chart" Target="../charts/chart29.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microsoft.com/office/2014/relationships/chartEx" Target="../charts/chartEx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chart" Target="../charts/chart30.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8.xml"/><Relationship Id="rId7" Type="http://schemas.openxmlformats.org/officeDocument/2006/relationships/chart" Target="../charts/chart3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chart" Target="../charts/chart31.xml"/><Relationship Id="rId5" Type="http://schemas.openxmlformats.org/officeDocument/2006/relationships/image" Target="../media/image3.emf"/><Relationship Id="rId4" Type="http://schemas.openxmlformats.org/officeDocument/2006/relationships/oleObject" Target="../embeddings/oleObject45.bin"/><Relationship Id="rId9" Type="http://schemas.openxmlformats.org/officeDocument/2006/relationships/image" Target="../media/image52.svg"/></Relationships>
</file>

<file path=ppt/slides/_rels/slide4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9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92.xml"/><Relationship Id="rId6"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png"/><Relationship Id="rId11" Type="http://schemas.openxmlformats.org/officeDocument/2006/relationships/image" Target="../media/image54.svg"/><Relationship Id="rId5" Type="http://schemas.openxmlformats.org/officeDocument/2006/relationships/image" Target="../media/image3.emf"/><Relationship Id="rId10" Type="http://schemas.openxmlformats.org/officeDocument/2006/relationships/image" Target="../media/image53.png"/><Relationship Id="rId4" Type="http://schemas.openxmlformats.org/officeDocument/2006/relationships/oleObject" Target="../embeddings/oleObject47.bin"/><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35.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8.xml"/><Relationship Id="rId7" Type="http://schemas.openxmlformats.org/officeDocument/2006/relationships/image" Target="../media/image53.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36.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xml"/><Relationship Id="rId7" Type="http://schemas.openxmlformats.org/officeDocument/2006/relationships/chart" Target="../charts/chart38.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7.xm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54.svg"/></Relationships>
</file>

<file path=ppt/slides/_rels/slide4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0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02.xml"/><Relationship Id="rId6" Type="http://schemas.openxmlformats.org/officeDocument/2006/relationships/image" Target="../media/image5.png"/></Relationships>
</file>

<file path=ppt/slides/_rels/slide48.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png"/><Relationship Id="rId11" Type="http://schemas.openxmlformats.org/officeDocument/2006/relationships/image" Target="../media/image56.svg"/><Relationship Id="rId5" Type="http://schemas.openxmlformats.org/officeDocument/2006/relationships/image" Target="../media/image3.emf"/><Relationship Id="rId10" Type="http://schemas.openxmlformats.org/officeDocument/2006/relationships/image" Target="../media/image55.png"/><Relationship Id="rId4" Type="http://schemas.openxmlformats.org/officeDocument/2006/relationships/oleObject" Target="../embeddings/oleObject52.bin"/><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chart" Target="../charts/chart41.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8.xml"/><Relationship Id="rId7" Type="http://schemas.openxmlformats.org/officeDocument/2006/relationships/image" Target="../media/image5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chart" Target="../charts/chart42.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8.xml"/><Relationship Id="rId7" Type="http://schemas.openxmlformats.org/officeDocument/2006/relationships/chart" Target="../charts/chart4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chart" Target="../charts/chart43.xml"/><Relationship Id="rId5" Type="http://schemas.openxmlformats.org/officeDocument/2006/relationships/image" Target="../media/image3.emf"/><Relationship Id="rId4" Type="http://schemas.openxmlformats.org/officeDocument/2006/relationships/oleObject" Target="../embeddings/oleObject55.bin"/><Relationship Id="rId9" Type="http://schemas.openxmlformats.org/officeDocument/2006/relationships/image" Target="../media/image56.svg"/></Relationships>
</file>

<file path=ppt/slides/_rels/slide5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1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12.xml"/><Relationship Id="rId6"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11" Type="http://schemas.openxmlformats.org/officeDocument/2006/relationships/image" Target="../media/image58.svg"/><Relationship Id="rId5" Type="http://schemas.openxmlformats.org/officeDocument/2006/relationships/image" Target="../media/image3.emf"/><Relationship Id="rId10" Type="http://schemas.openxmlformats.org/officeDocument/2006/relationships/image" Target="../media/image57.png"/><Relationship Id="rId4" Type="http://schemas.openxmlformats.org/officeDocument/2006/relationships/oleObject" Target="../embeddings/oleObject57.bin"/><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chart" Target="../charts/chart47.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5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8.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8.xml"/><Relationship Id="rId7" Type="http://schemas.openxmlformats.org/officeDocument/2006/relationships/chart" Target="../charts/chart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49.xml"/><Relationship Id="rId5" Type="http://schemas.openxmlformats.org/officeDocument/2006/relationships/image" Target="../media/image3.emf"/><Relationship Id="rId4" Type="http://schemas.openxmlformats.org/officeDocument/2006/relationships/oleObject" Target="../embeddings/oleObject60.bin"/><Relationship Id="rId9" Type="http://schemas.openxmlformats.org/officeDocument/2006/relationships/image" Target="../media/image58.svg"/></Relationships>
</file>

<file path=ppt/slides/_rels/slide5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2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22.xml"/><Relationship Id="rId6" Type="http://schemas.openxmlformats.org/officeDocument/2006/relationships/image" Target="../media/image5.png"/></Relationships>
</file>

<file path=ppt/slides/_rels/slide58.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62.svg"/><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6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4.png"/><Relationship Id="rId11" Type="http://schemas.openxmlformats.org/officeDocument/2006/relationships/image" Target="../media/image60.svg"/><Relationship Id="rId5" Type="http://schemas.openxmlformats.org/officeDocument/2006/relationships/image" Target="../media/image3.emf"/><Relationship Id="rId10" Type="http://schemas.openxmlformats.org/officeDocument/2006/relationships/image" Target="../media/image59.png"/><Relationship Id="rId4" Type="http://schemas.openxmlformats.org/officeDocument/2006/relationships/oleObject" Target="../embeddings/oleObject62.bin"/><Relationship Id="rId9" Type="http://schemas.openxmlformats.org/officeDocument/2006/relationships/chart" Target="../charts/chart52.xml"/></Relationships>
</file>

<file path=ppt/slides/_rels/slide5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chart" Target="../charts/chart53.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3.bin"/><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8.xml"/><Relationship Id="rId7" Type="http://schemas.openxmlformats.org/officeDocument/2006/relationships/image" Target="../media/image5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chart" Target="../charts/chart54.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4.bin"/><Relationship Id="rId9"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8.xml"/><Relationship Id="rId7" Type="http://schemas.openxmlformats.org/officeDocument/2006/relationships/chart" Target="../charts/chart5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chart" Target="../charts/chart55.xml"/><Relationship Id="rId11" Type="http://schemas.openxmlformats.org/officeDocument/2006/relationships/image" Target="../media/image62.svg"/><Relationship Id="rId5" Type="http://schemas.openxmlformats.org/officeDocument/2006/relationships/image" Target="../media/image3.emf"/><Relationship Id="rId10" Type="http://schemas.openxmlformats.org/officeDocument/2006/relationships/image" Target="../media/image61.png"/><Relationship Id="rId4" Type="http://schemas.openxmlformats.org/officeDocument/2006/relationships/oleObject" Target="../embeddings/oleObject65.bin"/><Relationship Id="rId9" Type="http://schemas.openxmlformats.org/officeDocument/2006/relationships/image" Target="../media/image60.svg"/></Relationships>
</file>

<file path=ppt/slides/_rels/slide6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3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32.xml"/><Relationship Id="rId6"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11" Type="http://schemas.openxmlformats.org/officeDocument/2006/relationships/chart" Target="../charts/chart58.xml"/><Relationship Id="rId5" Type="http://schemas.openxmlformats.org/officeDocument/2006/relationships/image" Target="../media/image3.emf"/><Relationship Id="rId10" Type="http://schemas.openxmlformats.org/officeDocument/2006/relationships/chart" Target="../charts/chart57.xml"/><Relationship Id="rId4" Type="http://schemas.openxmlformats.org/officeDocument/2006/relationships/oleObject" Target="../embeddings/oleObject67.bin"/><Relationship Id="rId9" Type="http://schemas.openxmlformats.org/officeDocument/2006/relationships/image" Target="../media/image64.svg"/></Relationships>
</file>

<file path=ppt/slides/_rels/slide64.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slideLayout" Target="../slideLayouts/slideLayout2.xml"/><Relationship Id="rId7" Type="http://schemas.openxmlformats.org/officeDocument/2006/relationships/image" Target="../media/image64.sv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63.png"/><Relationship Id="rId5" Type="http://schemas.openxmlformats.org/officeDocument/2006/relationships/image" Target="../media/image3.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6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chart" Target="../charts/chart61.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42.xml"/><Relationship Id="rId6" Type="http://schemas.openxmlformats.org/officeDocument/2006/relationships/image" Target="../media/image5.png"/></Relationships>
</file>

<file path=ppt/slides/_rels/slide68.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4.png"/><Relationship Id="rId11" Type="http://schemas.openxmlformats.org/officeDocument/2006/relationships/image" Target="../media/image66.svg"/><Relationship Id="rId5" Type="http://schemas.openxmlformats.org/officeDocument/2006/relationships/image" Target="../media/image3.emf"/><Relationship Id="rId10" Type="http://schemas.openxmlformats.org/officeDocument/2006/relationships/image" Target="../media/image65.png"/><Relationship Id="rId4" Type="http://schemas.openxmlformats.org/officeDocument/2006/relationships/oleObject" Target="../embeddings/oleObject72.bin"/><Relationship Id="rId9" Type="http://schemas.openxmlformats.org/officeDocument/2006/relationships/chart" Target="../charts/chart63.xml"/></Relationships>
</file>

<file path=ppt/slides/_rels/slide69.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chart" Target="../charts/chart64.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8.xml"/><Relationship Id="rId7" Type="http://schemas.openxmlformats.org/officeDocument/2006/relationships/image" Target="../media/image6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chart" Target="../charts/chart65.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chart" Target="../charts/chart67.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chart" Target="../charts/chart66.xml"/><Relationship Id="rId5" Type="http://schemas.openxmlformats.org/officeDocument/2006/relationships/image" Target="../media/image3.emf"/><Relationship Id="rId4" Type="http://schemas.openxmlformats.org/officeDocument/2006/relationships/oleObject" Target="../embeddings/oleObject75.bin"/><Relationship Id="rId9" Type="http://schemas.openxmlformats.org/officeDocument/2006/relationships/image" Target="../media/image66.svg"/></Relationships>
</file>

<file path=ppt/slides/_rels/slide7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52.xml"/><Relationship Id="rId6" Type="http://schemas.openxmlformats.org/officeDocument/2006/relationships/image" Target="../media/image5.png"/></Relationships>
</file>

<file path=ppt/slides/_rels/slide73.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11" Type="http://schemas.openxmlformats.org/officeDocument/2006/relationships/image" Target="../media/image68.svg"/><Relationship Id="rId5" Type="http://schemas.openxmlformats.org/officeDocument/2006/relationships/image" Target="../media/image3.emf"/><Relationship Id="rId10" Type="http://schemas.openxmlformats.org/officeDocument/2006/relationships/image" Target="../media/image67.png"/><Relationship Id="rId4" Type="http://schemas.openxmlformats.org/officeDocument/2006/relationships/oleObject" Target="../embeddings/oleObject77.bin"/><Relationship Id="rId9" Type="http://schemas.openxmlformats.org/officeDocument/2006/relationships/chart" Target="../charts/chart69.xml"/></Relationships>
</file>

<file path=ppt/slides/_rels/slide7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chart" Target="../charts/chart70.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8.xml"/><Relationship Id="rId7" Type="http://schemas.openxmlformats.org/officeDocument/2006/relationships/image" Target="../media/image6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71.xm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chart" Target="../charts/chart73.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chart" Target="../charts/chart72.xml"/><Relationship Id="rId5" Type="http://schemas.openxmlformats.org/officeDocument/2006/relationships/image" Target="../media/image3.emf"/><Relationship Id="rId4" Type="http://schemas.openxmlformats.org/officeDocument/2006/relationships/oleObject" Target="../embeddings/oleObject80.bin"/><Relationship Id="rId9" Type="http://schemas.openxmlformats.org/officeDocument/2006/relationships/image" Target="../media/image68.svg"/></Relationships>
</file>

<file path=ppt/slides/_rels/slide7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81.bin"/><Relationship Id="rId9" Type="http://schemas.openxmlformats.org/officeDocument/2006/relationships/slide" Target="slide1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www.itspublic.nl/materialen/gemeentefonds"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85.bin"/></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slideLayout" Target="../slideLayouts/slideLayout2.xml"/><Relationship Id="rId7" Type="http://schemas.openxmlformats.org/officeDocument/2006/relationships/hyperlink" Target="https://www.itspublic.nl/materialen/"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9.png"/><Relationship Id="rId5" Type="http://schemas.openxmlformats.org/officeDocument/2006/relationships/image" Target="../media/image2.emf"/><Relationship Id="rId10" Type="http://schemas.openxmlformats.org/officeDocument/2006/relationships/image" Target="../media/image70.svg"/><Relationship Id="rId4" Type="http://schemas.openxmlformats.org/officeDocument/2006/relationships/oleObject" Target="../embeddings/oleObject86.bin"/><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xml"/><Relationship Id="rId7" Type="http://schemas.openxmlformats.org/officeDocument/2006/relationships/hyperlink" Target="http://creativecommons.org/licenses/by/4.0/"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www.itspublic.nl/" TargetMode="External"/><Relationship Id="rId5" Type="http://schemas.openxmlformats.org/officeDocument/2006/relationships/image" Target="../media/image71.emf"/><Relationship Id="rId4" Type="http://schemas.openxmlformats.org/officeDocument/2006/relationships/oleObject" Target="../embeddings/oleObject87.bin"/><Relationship Id="rId9"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6">
            <a:alphaModFix amt="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Meerssen</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3144206"/>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039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Meerssen is ca. 28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3049581644"/>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7"/>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Meerssen</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8,0</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4,0</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4,0</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2</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26,2</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39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Meerssen is ca. 28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1803214734"/>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1970868589"/>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812804302"/>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Meerssen</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3114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518626913"/>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4,3</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7,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8,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Meerssen is ca. 28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Meerssen</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1196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662562635"/>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5,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6,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1,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27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2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8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9,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2,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Per inwoner ontvangt Meerssen ca. 1.480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Meerssen</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55910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754579503"/>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Meerss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480</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55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8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Dit is ca. 78 euro mind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Meerssen</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1"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2"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3"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4"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5"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6"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7"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8"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19"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0"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1"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2"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
        <p:nvSpPr>
          <p:cNvPr id="72" name="Title 4">
            <a:hlinkClick r:id="rId5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1"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2"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3"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4"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5"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6"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7"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8"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19"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0"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1"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2"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70470711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299605030"/>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39694760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9.03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92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92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7 mind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94494985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19345684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96993831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0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5.9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6"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7"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8"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2453141"/>
            <a:ext cx="418002" cy="396000"/>
          </a:xfrm>
          <a:prstGeom prst="rect">
            <a:avLst/>
          </a:prstGeom>
        </p:spPr>
      </p:pic>
      <p:sp>
        <p:nvSpPr>
          <p:cNvPr id="17" name="Text Placeholder 5">
            <a:hlinkClick r:id="rId13"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3"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01616509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35720856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a:graphicFrameLocks noChangeAspect="1"/>
          </p:cNvGraphicFramePr>
          <p:nvPr>
            <p:extLst>
              <p:ext uri="{D42A27DB-BD31-4B8C-83A1-F6EECF244321}">
                <p14:modId xmlns:p14="http://schemas.microsoft.com/office/powerpoint/2010/main" val="242186721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3"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7332141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28581162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56718794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9.03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92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92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72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64912840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61402961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5</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1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45799403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0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5.9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99605811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20751670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359362658"/>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68502332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Particip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rmoedebestrijding kind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chulden en armoed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erspectief op werk 20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997629333"/>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4"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39629119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413933264"/>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68272332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9.03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92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92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21738617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46242557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29523234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0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5.9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6"/>
            <a:extLst>
              <a:ext uri="{FF2B5EF4-FFF2-40B4-BE49-F238E27FC236}">
                <a16:creationId xmlns:a16="http://schemas.microsoft.com/office/drawing/2014/main" id="{C806E9C2-75AF-4562-9632-8E96D8E03AD6}"/>
              </a:ext>
            </a:extLst>
          </p:cNvPr>
          <p:cNvPicPr>
            <a:picLocks noChangeAspect="1"/>
          </p:cNvPicPr>
          <p:nvPr/>
        </p:nvPicPr>
        <p:blipFill rotWithShape="1">
          <a:blip r:embed="rId7">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6"/>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6"/>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8"/>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9"/>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0"/>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73730448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6705780"/>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586358541"/>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53404320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hoging taalniveau statush</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elijke vreemdelingenvoorz</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39132215"/>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5"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27509911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012353833"/>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2984010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61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8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8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8 mind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65594615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73975100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35504881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8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87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72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4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2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55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85459657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81244873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lan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eugdigen in gezinnen armoederisic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 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90216853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590658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gdij 18 plu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uppletie uitkering IUS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Transformatiefonds SD 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949358233"/>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6"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00010283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61496401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74914341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9.03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92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92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84333385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715497562"/>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20112611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0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5.9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68856692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90888196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75 t/m 8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ajo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8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7,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92783889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71642050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M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gramma Sociaal domei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487734586"/>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7"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9755891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21515512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02270646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3.61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8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3.089</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67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368284262"/>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51578035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686944327"/>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08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87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72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42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2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55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587734008"/>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5161329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xtra groei 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nn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0795447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46025740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rschoolse voorz peut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erarentekort G4 2020-20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031549583"/>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8"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26195067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49736354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34667448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9.03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92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92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97375816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29443824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02904859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0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5.9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23933570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50174838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85414426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38604907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Gezond in de sta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zondsheidsachterstand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75942721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19"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99231693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79558279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9.03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92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92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916513610"/>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643293980"/>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23334352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0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5.9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49312945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59641875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dirty="0">
                          <a:solidFill>
                            <a:sysClr val="windowText" lastClr="000000"/>
                          </a:solidFill>
                        </a:rPr>
                        <a:t>X,x ml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76230251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745331420"/>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Combinatiefunctie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bliotheekmidd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69905964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0"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90799105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092681144"/>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25122078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0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21941451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63972323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14259881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0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5.9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37812324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25861139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kern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 bodemfactor buiten ko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4,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58962570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414948140"/>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Deltaprogr ruimtelijke adapt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TH provinciale tak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demsanering</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055822063"/>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1"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87230490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9.03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92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92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521676715"/>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261792629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e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05735775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6844158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0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5.9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152494239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977529990"/>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05385223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781027396"/>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2"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38465616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23306710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27189352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9.03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92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92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0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411780700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22879479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9557252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0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5.9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Meerssen,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3454273560"/>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8,0</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8,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8,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12590493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27952965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met minstens 500 adress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l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30065346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657638654"/>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iligheidshuiz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03037395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07309610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43899162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564973207"/>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9.039</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92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8.92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04902189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88789367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424347059"/>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92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79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07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1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5.90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7482993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90698184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woonde oorden 193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37250453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72905704"/>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goeding raadsleden gemeen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RP strat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726116539"/>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Meerssen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4490863"/>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334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335802074"/>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4,3</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7,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8,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Meerssen is ca. 28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Meerssen</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8846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963088766"/>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6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27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2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8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150</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Meerssen ca. 1.480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Meerssen</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1869025953"/>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Meerssen</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18.923</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Dantumadiel</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8.923</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Druten</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8.797</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West Maas En Waal</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9.076</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Eersel</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9.110</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6"/>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6"/>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80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501862789"/>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Meerss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480</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55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7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8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78 mind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Meerssen</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1"/>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1491245682"/>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1529934310"/>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0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92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92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Meerssen,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1"/>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6"/>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7"/>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6">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7">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5</TotalTime>
  <Words>9696</Words>
  <Application>Microsoft Office PowerPoint</Application>
  <PresentationFormat>Widescreen</PresentationFormat>
  <Paragraphs>2187</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Meerssen is ca. 28 mln (1/3)</vt:lpstr>
      <vt:lpstr>Totale uitkering voor Meerssen is ca. 28 mln (2/3)</vt:lpstr>
      <vt:lpstr>Totale uitkering voor Meerssen is ca. 28 mln (3/3)</vt:lpstr>
      <vt:lpstr>Per inwoner ontvangt Meerssen ca. 1.480 euro</vt:lpstr>
      <vt:lpstr>Dit is ca. 78 euro mind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Meerssen is ca. 28 mln</vt:lpstr>
      <vt:lpstr>Per inwoner ontvangt Meerssen ca. 1.480 euro</vt:lpstr>
      <vt:lpstr>Dit is ca. €78 mind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Thijs Jacobs</cp:lastModifiedBy>
  <cp:revision>922</cp:revision>
  <cp:lastPrinted>2020-08-19T07:49:56Z</cp:lastPrinted>
  <dcterms:created xsi:type="dcterms:W3CDTF">2020-03-09T08:06:05Z</dcterms:created>
  <dcterms:modified xsi:type="dcterms:W3CDTF">2021-03-28T01:18:45Z</dcterms:modified>
</cp:coreProperties>
</file>